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notesSlides/notesSlide3.xml" ContentType="application/vnd.openxmlformats-officedocument.presentationml.notesSlide+xml"/>
  <Override PartName="/ppt/tags/tag68.xml" ContentType="application/vnd.openxmlformats-officedocument.presentationml.tags+xml"/>
  <Override PartName="/ppt/notesSlides/notesSlide4.xml" ContentType="application/vnd.openxmlformats-officedocument.presentationml.notesSlide+xml"/>
  <Override PartName="/ppt/tags/tag69.xml" ContentType="application/vnd.openxmlformats-officedocument.presentationml.tags+xml"/>
  <Override PartName="/ppt/notesSlides/notesSlide5.xml" ContentType="application/vnd.openxmlformats-officedocument.presentationml.notesSlide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notesSlides/notesSlide7.xml" ContentType="application/vnd.openxmlformats-officedocument.presentationml.notesSlide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3.xml" ContentType="application/vnd.openxmlformats-officedocument.presentationml.notesSlide+xml"/>
  <Override PartName="/ppt/tags/tag79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0.xml" ContentType="application/vnd.openxmlformats-officedocument.presentationml.tags+xml"/>
  <Override PartName="/ppt/notesSlides/notesSlide16.xml" ContentType="application/vnd.openxmlformats-officedocument.presentationml.notesSlide+xml"/>
  <Override PartName="/ppt/tags/tag81.xml" ContentType="application/vnd.openxmlformats-officedocument.presentationml.tags+xml"/>
  <Override PartName="/ppt/notesSlides/notesSlide17.xml" ContentType="application/vnd.openxmlformats-officedocument.presentationml.notesSlide+xml"/>
  <Override PartName="/ppt/tags/tag82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6" r:id="rId2"/>
  </p:sldMasterIdLst>
  <p:notesMasterIdLst>
    <p:notesMasterId r:id="rId32"/>
  </p:notesMasterIdLst>
  <p:sldIdLst>
    <p:sldId id="426" r:id="rId3"/>
    <p:sldId id="485" r:id="rId4"/>
    <p:sldId id="531" r:id="rId5"/>
    <p:sldId id="532" r:id="rId6"/>
    <p:sldId id="528" r:id="rId7"/>
    <p:sldId id="454" r:id="rId8"/>
    <p:sldId id="437" r:id="rId9"/>
    <p:sldId id="521" r:id="rId10"/>
    <p:sldId id="523" r:id="rId11"/>
    <p:sldId id="525" r:id="rId12"/>
    <p:sldId id="533" r:id="rId13"/>
    <p:sldId id="534" r:id="rId14"/>
    <p:sldId id="544" r:id="rId15"/>
    <p:sldId id="542" r:id="rId16"/>
    <p:sldId id="546" r:id="rId17"/>
    <p:sldId id="541" r:id="rId18"/>
    <p:sldId id="540" r:id="rId19"/>
    <p:sldId id="539" r:id="rId20"/>
    <p:sldId id="538" r:id="rId21"/>
    <p:sldId id="529" r:id="rId22"/>
    <p:sldId id="527" r:id="rId23"/>
    <p:sldId id="535" r:id="rId24"/>
    <p:sldId id="536" r:id="rId25"/>
    <p:sldId id="530" r:id="rId26"/>
    <p:sldId id="464" r:id="rId27"/>
    <p:sldId id="537" r:id="rId28"/>
    <p:sldId id="545" r:id="rId29"/>
    <p:sldId id="547" r:id="rId30"/>
    <p:sldId id="425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BC0D"/>
    <a:srgbClr val="E2E2E2"/>
    <a:srgbClr val="FFE7CC"/>
    <a:srgbClr val="FFC52E"/>
    <a:srgbClr val="FFDD59"/>
    <a:srgbClr val="FF944D"/>
    <a:srgbClr val="FFB953"/>
    <a:srgbClr val="FFC72C"/>
    <a:srgbClr val="9900CC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C2857D-7DB2-470F-A8FE-F1747C09925F}" v="138" dt="2024-05-23T01:38:14.3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247" autoAdjust="0"/>
  </p:normalViewPr>
  <p:slideViewPr>
    <p:cSldViewPr snapToGrid="0">
      <p:cViewPr varScale="1">
        <p:scale>
          <a:sx n="62" d="100"/>
          <a:sy n="62" d="100"/>
        </p:scale>
        <p:origin x="112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zlan, Azimah" userId="a7531543-a4ed-47aa-8443-a6e7cc8df1b5" providerId="ADAL" clId="{24C2857D-7DB2-470F-A8FE-F1747C09925F}"/>
    <pc:docChg chg="undo redo custSel addSld delSld modSld sldOrd">
      <pc:chgData name="Mazlan, Azimah" userId="a7531543-a4ed-47aa-8443-a6e7cc8df1b5" providerId="ADAL" clId="{24C2857D-7DB2-470F-A8FE-F1747C09925F}" dt="2024-05-23T01:38:16.644" v="6110" actId="1076"/>
      <pc:docMkLst>
        <pc:docMk/>
      </pc:docMkLst>
      <pc:sldChg chg="modSp mod ord">
        <pc:chgData name="Mazlan, Azimah" userId="a7531543-a4ed-47aa-8443-a6e7cc8df1b5" providerId="ADAL" clId="{24C2857D-7DB2-470F-A8FE-F1747C09925F}" dt="2024-05-23T01:10:24.186" v="5935"/>
        <pc:sldMkLst>
          <pc:docMk/>
          <pc:sldMk cId="1323107535" sldId="425"/>
        </pc:sldMkLst>
        <pc:picChg chg="mod">
          <ac:chgData name="Mazlan, Azimah" userId="a7531543-a4ed-47aa-8443-a6e7cc8df1b5" providerId="ADAL" clId="{24C2857D-7DB2-470F-A8FE-F1747C09925F}" dt="2024-05-20T02:59:06.864" v="41" actId="1076"/>
          <ac:picMkLst>
            <pc:docMk/>
            <pc:sldMk cId="1323107535" sldId="425"/>
            <ac:picMk id="22" creationId="{4179712B-7F64-4F02-AD63-5034D757FE47}"/>
          </ac:picMkLst>
        </pc:picChg>
      </pc:sldChg>
      <pc:sldChg chg="modSp mod">
        <pc:chgData name="Mazlan, Azimah" userId="a7531543-a4ed-47aa-8443-a6e7cc8df1b5" providerId="ADAL" clId="{24C2857D-7DB2-470F-A8FE-F1747C09925F}" dt="2024-05-21T05:04:22.159" v="3580" actId="20577"/>
        <pc:sldMkLst>
          <pc:docMk/>
          <pc:sldMk cId="2551207023" sldId="426"/>
        </pc:sldMkLst>
        <pc:spChg chg="mod">
          <ac:chgData name="Mazlan, Azimah" userId="a7531543-a4ed-47aa-8443-a6e7cc8df1b5" providerId="ADAL" clId="{24C2857D-7DB2-470F-A8FE-F1747C09925F}" dt="2024-05-20T02:48:46.890" v="6" actId="20577"/>
          <ac:spMkLst>
            <pc:docMk/>
            <pc:sldMk cId="2551207023" sldId="426"/>
            <ac:spMk id="2" creationId="{00000000-0000-0000-0000-000000000000}"/>
          </ac:spMkLst>
        </pc:spChg>
        <pc:spChg chg="mod">
          <ac:chgData name="Mazlan, Azimah" userId="a7531543-a4ed-47aa-8443-a6e7cc8df1b5" providerId="ADAL" clId="{24C2857D-7DB2-470F-A8FE-F1747C09925F}" dt="2024-05-21T05:04:22.159" v="3580" actId="20577"/>
          <ac:spMkLst>
            <pc:docMk/>
            <pc:sldMk cId="2551207023" sldId="426"/>
            <ac:spMk id="16" creationId="{E2208C9E-160F-4546-BA16-108EA95F07C8}"/>
          </ac:spMkLst>
        </pc:spChg>
      </pc:sldChg>
      <pc:sldChg chg="addSp modSp mod">
        <pc:chgData name="Mazlan, Azimah" userId="a7531543-a4ed-47aa-8443-a6e7cc8df1b5" providerId="ADAL" clId="{24C2857D-7DB2-470F-A8FE-F1747C09925F}" dt="2024-05-20T16:54:46.650" v="2401" actId="20577"/>
        <pc:sldMkLst>
          <pc:docMk/>
          <pc:sldMk cId="1347469377" sldId="454"/>
        </pc:sldMkLst>
        <pc:spChg chg="mod">
          <ac:chgData name="Mazlan, Azimah" userId="a7531543-a4ed-47aa-8443-a6e7cc8df1b5" providerId="ADAL" clId="{24C2857D-7DB2-470F-A8FE-F1747C09925F}" dt="2024-05-20T16:54:46.650" v="2401" actId="20577"/>
          <ac:spMkLst>
            <pc:docMk/>
            <pc:sldMk cId="1347469377" sldId="454"/>
            <ac:spMk id="7" creationId="{75AF80B3-393A-48F5-9D69-402321F21AE6}"/>
          </ac:spMkLst>
        </pc:spChg>
        <pc:graphicFrameChg chg="add mod modGraphic">
          <ac:chgData name="Mazlan, Azimah" userId="a7531543-a4ed-47aa-8443-a6e7cc8df1b5" providerId="ADAL" clId="{24C2857D-7DB2-470F-A8FE-F1747C09925F}" dt="2024-05-20T16:51:12.792" v="2348" actId="1076"/>
          <ac:graphicFrameMkLst>
            <pc:docMk/>
            <pc:sldMk cId="1347469377" sldId="454"/>
            <ac:graphicFrameMk id="3" creationId="{9B2EE8D9-074D-3741-6BF0-FB748F124856}"/>
          </ac:graphicFrameMkLst>
        </pc:graphicFrameChg>
      </pc:sldChg>
      <pc:sldChg chg="modSp mod">
        <pc:chgData name="Mazlan, Azimah" userId="a7531543-a4ed-47aa-8443-a6e7cc8df1b5" providerId="ADAL" clId="{24C2857D-7DB2-470F-A8FE-F1747C09925F}" dt="2024-05-21T04:35:47.384" v="3576" actId="1036"/>
        <pc:sldMkLst>
          <pc:docMk/>
          <pc:sldMk cId="1723276796" sldId="485"/>
        </pc:sldMkLst>
        <pc:spChg chg="mod">
          <ac:chgData name="Mazlan, Azimah" userId="a7531543-a4ed-47aa-8443-a6e7cc8df1b5" providerId="ADAL" clId="{24C2857D-7DB2-470F-A8FE-F1747C09925F}" dt="2024-05-21T04:35:36.903" v="3561" actId="1035"/>
          <ac:spMkLst>
            <pc:docMk/>
            <pc:sldMk cId="1723276796" sldId="485"/>
            <ac:spMk id="2" creationId="{00000000-0000-0000-0000-000000000000}"/>
          </ac:spMkLst>
        </pc:spChg>
        <pc:spChg chg="mod">
          <ac:chgData name="Mazlan, Azimah" userId="a7531543-a4ed-47aa-8443-a6e7cc8df1b5" providerId="ADAL" clId="{24C2857D-7DB2-470F-A8FE-F1747C09925F}" dt="2024-05-21T04:35:47.384" v="3576" actId="1036"/>
          <ac:spMkLst>
            <pc:docMk/>
            <pc:sldMk cId="1723276796" sldId="485"/>
            <ac:spMk id="6" creationId="{4CD3F775-FA24-0B22-4D76-E15B7795621C}"/>
          </ac:spMkLst>
        </pc:spChg>
        <pc:spChg chg="mod">
          <ac:chgData name="Mazlan, Azimah" userId="a7531543-a4ed-47aa-8443-a6e7cc8df1b5" providerId="ADAL" clId="{24C2857D-7DB2-470F-A8FE-F1747C09925F}" dt="2024-05-21T04:35:47.384" v="3576" actId="1036"/>
          <ac:spMkLst>
            <pc:docMk/>
            <pc:sldMk cId="1723276796" sldId="485"/>
            <ac:spMk id="7" creationId="{4A5F9373-2494-5832-7DC1-F6DFC8A3E248}"/>
          </ac:spMkLst>
        </pc:spChg>
      </pc:sldChg>
      <pc:sldChg chg="addSp delSp modSp mod">
        <pc:chgData name="Mazlan, Azimah" userId="a7531543-a4ed-47aa-8443-a6e7cc8df1b5" providerId="ADAL" clId="{24C2857D-7DB2-470F-A8FE-F1747C09925F}" dt="2024-05-23T01:37:27.181" v="6103" actId="1076"/>
        <pc:sldMkLst>
          <pc:docMk/>
          <pc:sldMk cId="3484922441" sldId="527"/>
        </pc:sldMkLst>
        <pc:spChg chg="mod">
          <ac:chgData name="Mazlan, Azimah" userId="a7531543-a4ed-47aa-8443-a6e7cc8df1b5" providerId="ADAL" clId="{24C2857D-7DB2-470F-A8FE-F1747C09925F}" dt="2024-05-22T15:26:52.418" v="4924" actId="1035"/>
          <ac:spMkLst>
            <pc:docMk/>
            <pc:sldMk cId="3484922441" sldId="527"/>
            <ac:spMk id="5" creationId="{87B46EC3-3585-4FD2-2D9B-7E1D3CD0DEBE}"/>
          </ac:spMkLst>
        </pc:spChg>
        <pc:spChg chg="mod">
          <ac:chgData name="Mazlan, Azimah" userId="a7531543-a4ed-47aa-8443-a6e7cc8df1b5" providerId="ADAL" clId="{24C2857D-7DB2-470F-A8FE-F1747C09925F}" dt="2024-05-22T15:26:52.418" v="4924" actId="1035"/>
          <ac:spMkLst>
            <pc:docMk/>
            <pc:sldMk cId="3484922441" sldId="527"/>
            <ac:spMk id="6" creationId="{EA90EC98-29BC-4E12-60A9-A4D65322E328}"/>
          </ac:spMkLst>
        </pc:spChg>
        <pc:spChg chg="mod">
          <ac:chgData name="Mazlan, Azimah" userId="a7531543-a4ed-47aa-8443-a6e7cc8df1b5" providerId="ADAL" clId="{24C2857D-7DB2-470F-A8FE-F1747C09925F}" dt="2024-05-22T15:26:52.418" v="4924" actId="1035"/>
          <ac:spMkLst>
            <pc:docMk/>
            <pc:sldMk cId="3484922441" sldId="527"/>
            <ac:spMk id="7" creationId="{DFA953DC-8C39-1107-FC02-2004A1B2DDF2}"/>
          </ac:spMkLst>
        </pc:spChg>
        <pc:spChg chg="mod">
          <ac:chgData name="Mazlan, Azimah" userId="a7531543-a4ed-47aa-8443-a6e7cc8df1b5" providerId="ADAL" clId="{24C2857D-7DB2-470F-A8FE-F1747C09925F}" dt="2024-05-22T15:26:52.418" v="4924" actId="1035"/>
          <ac:spMkLst>
            <pc:docMk/>
            <pc:sldMk cId="3484922441" sldId="527"/>
            <ac:spMk id="8" creationId="{E0F6C52B-AAFD-7FE2-F7AD-46A26511B4D1}"/>
          </ac:spMkLst>
        </pc:spChg>
        <pc:spChg chg="mod">
          <ac:chgData name="Mazlan, Azimah" userId="a7531543-a4ed-47aa-8443-a6e7cc8df1b5" providerId="ADAL" clId="{24C2857D-7DB2-470F-A8FE-F1747C09925F}" dt="2024-05-22T15:26:52.418" v="4924" actId="1035"/>
          <ac:spMkLst>
            <pc:docMk/>
            <pc:sldMk cId="3484922441" sldId="527"/>
            <ac:spMk id="9" creationId="{96DF76F6-A1C3-4CA7-0B73-E9ECF5B0F81B}"/>
          </ac:spMkLst>
        </pc:spChg>
        <pc:spChg chg="add del mod">
          <ac:chgData name="Mazlan, Azimah" userId="a7531543-a4ed-47aa-8443-a6e7cc8df1b5" providerId="ADAL" clId="{24C2857D-7DB2-470F-A8FE-F1747C09925F}" dt="2024-05-23T01:37:23.940" v="6102" actId="478"/>
          <ac:spMkLst>
            <pc:docMk/>
            <pc:sldMk cId="3484922441" sldId="527"/>
            <ac:spMk id="30" creationId="{27932D8A-95D2-5BE3-CF9D-93A383445A29}"/>
          </ac:spMkLst>
        </pc:spChg>
        <pc:spChg chg="add mod">
          <ac:chgData name="Mazlan, Azimah" userId="a7531543-a4ed-47aa-8443-a6e7cc8df1b5" providerId="ADAL" clId="{24C2857D-7DB2-470F-A8FE-F1747C09925F}" dt="2024-05-22T15:28:28.862" v="5019" actId="1036"/>
          <ac:spMkLst>
            <pc:docMk/>
            <pc:sldMk cId="3484922441" sldId="527"/>
            <ac:spMk id="31" creationId="{540AE58E-6475-EDD2-3930-DA0DE65D8AEF}"/>
          </ac:spMkLst>
        </pc:spChg>
        <pc:spChg chg="add mod">
          <ac:chgData name="Mazlan, Azimah" userId="a7531543-a4ed-47aa-8443-a6e7cc8df1b5" providerId="ADAL" clId="{24C2857D-7DB2-470F-A8FE-F1747C09925F}" dt="2024-05-23T01:37:27.181" v="6103" actId="1076"/>
          <ac:spMkLst>
            <pc:docMk/>
            <pc:sldMk cId="3484922441" sldId="527"/>
            <ac:spMk id="33" creationId="{63CEF93E-BC3E-3015-3985-E081AD6F02F0}"/>
          </ac:spMkLst>
        </pc:spChg>
        <pc:grpChg chg="mod">
          <ac:chgData name="Mazlan, Azimah" userId="a7531543-a4ed-47aa-8443-a6e7cc8df1b5" providerId="ADAL" clId="{24C2857D-7DB2-470F-A8FE-F1747C09925F}" dt="2024-05-22T15:26:52.418" v="4924" actId="1035"/>
          <ac:grpSpMkLst>
            <pc:docMk/>
            <pc:sldMk cId="3484922441" sldId="527"/>
            <ac:grpSpMk id="10" creationId="{80BA3ABA-549B-2793-71DF-96168D2C55A3}"/>
          </ac:grpSpMkLst>
        </pc:grpChg>
        <pc:grpChg chg="mod">
          <ac:chgData name="Mazlan, Azimah" userId="a7531543-a4ed-47aa-8443-a6e7cc8df1b5" providerId="ADAL" clId="{24C2857D-7DB2-470F-A8FE-F1747C09925F}" dt="2024-05-22T15:26:52.418" v="4924" actId="1035"/>
          <ac:grpSpMkLst>
            <pc:docMk/>
            <pc:sldMk cId="3484922441" sldId="527"/>
            <ac:grpSpMk id="20" creationId="{72B82446-BC9D-A0D7-6F22-2D15B200175B}"/>
          </ac:grpSpMkLst>
        </pc:grpChg>
        <pc:grpChg chg="mod">
          <ac:chgData name="Mazlan, Azimah" userId="a7531543-a4ed-47aa-8443-a6e7cc8df1b5" providerId="ADAL" clId="{24C2857D-7DB2-470F-A8FE-F1747C09925F}" dt="2024-05-22T15:26:52.418" v="4924" actId="1035"/>
          <ac:grpSpMkLst>
            <pc:docMk/>
            <pc:sldMk cId="3484922441" sldId="527"/>
            <ac:grpSpMk id="24" creationId="{5CED78DE-F7F2-6817-4745-356FD7CFF19B}"/>
          </ac:grpSpMkLst>
        </pc:grpChg>
        <pc:grpChg chg="mod">
          <ac:chgData name="Mazlan, Azimah" userId="a7531543-a4ed-47aa-8443-a6e7cc8df1b5" providerId="ADAL" clId="{24C2857D-7DB2-470F-A8FE-F1747C09925F}" dt="2024-05-20T16:28:46.930" v="2093" actId="1076"/>
          <ac:grpSpMkLst>
            <pc:docMk/>
            <pc:sldMk cId="3484922441" sldId="527"/>
            <ac:grpSpMk id="27" creationId="{F7F2CF39-D8CB-C861-7FD7-2E10D7697364}"/>
          </ac:grpSpMkLst>
        </pc:grpChg>
        <pc:grpChg chg="mod">
          <ac:chgData name="Mazlan, Azimah" userId="a7531543-a4ed-47aa-8443-a6e7cc8df1b5" providerId="ADAL" clId="{24C2857D-7DB2-470F-A8FE-F1747C09925F}" dt="2024-05-22T15:26:52.418" v="4924" actId="1035"/>
          <ac:grpSpMkLst>
            <pc:docMk/>
            <pc:sldMk cId="3484922441" sldId="527"/>
            <ac:grpSpMk id="32" creationId="{00D7A817-E148-AE31-A617-88C0452A640A}"/>
          </ac:grpSpMkLst>
        </pc:grpChg>
        <pc:grpChg chg="mod">
          <ac:chgData name="Mazlan, Azimah" userId="a7531543-a4ed-47aa-8443-a6e7cc8df1b5" providerId="ADAL" clId="{24C2857D-7DB2-470F-A8FE-F1747C09925F}" dt="2024-05-22T15:26:52.418" v="4924" actId="1035"/>
          <ac:grpSpMkLst>
            <pc:docMk/>
            <pc:sldMk cId="3484922441" sldId="527"/>
            <ac:grpSpMk id="34" creationId="{6474AF5A-F1D3-8C05-97A2-B3E9C6062B5A}"/>
          </ac:grpSpMkLst>
        </pc:grpChg>
        <pc:graphicFrameChg chg="mod">
          <ac:chgData name="Mazlan, Azimah" userId="a7531543-a4ed-47aa-8443-a6e7cc8df1b5" providerId="ADAL" clId="{24C2857D-7DB2-470F-A8FE-F1747C09925F}" dt="2024-05-22T15:26:52.418" v="4924" actId="1035"/>
          <ac:graphicFrameMkLst>
            <pc:docMk/>
            <pc:sldMk cId="3484922441" sldId="527"/>
            <ac:graphicFrameMk id="4" creationId="{27DD9E31-CE0A-E1A0-B1B8-2417DAFEFD7B}"/>
          </ac:graphicFrameMkLst>
        </pc:graphicFrameChg>
        <pc:picChg chg="mod">
          <ac:chgData name="Mazlan, Azimah" userId="a7531543-a4ed-47aa-8443-a6e7cc8df1b5" providerId="ADAL" clId="{24C2857D-7DB2-470F-A8FE-F1747C09925F}" dt="2024-05-20T15:50:21.513" v="2025" actId="1037"/>
          <ac:picMkLst>
            <pc:docMk/>
            <pc:sldMk cId="3484922441" sldId="527"/>
            <ac:picMk id="16" creationId="{DDEEAD06-9E49-0A8E-DD8B-090EC9115AF9}"/>
          </ac:picMkLst>
        </pc:picChg>
      </pc:sldChg>
      <pc:sldChg chg="modSp mod">
        <pc:chgData name="Mazlan, Azimah" userId="a7531543-a4ed-47aa-8443-a6e7cc8df1b5" providerId="ADAL" clId="{24C2857D-7DB2-470F-A8FE-F1747C09925F}" dt="2024-05-21T04:15:15.280" v="3221" actId="20577"/>
        <pc:sldMkLst>
          <pc:docMk/>
          <pc:sldMk cId="1393583974" sldId="529"/>
        </pc:sldMkLst>
        <pc:spChg chg="mod">
          <ac:chgData name="Mazlan, Azimah" userId="a7531543-a4ed-47aa-8443-a6e7cc8df1b5" providerId="ADAL" clId="{24C2857D-7DB2-470F-A8FE-F1747C09925F}" dt="2024-05-21T04:15:15.280" v="3221" actId="20577"/>
          <ac:spMkLst>
            <pc:docMk/>
            <pc:sldMk cId="1393583974" sldId="529"/>
            <ac:spMk id="2" creationId="{00000000-0000-0000-0000-000000000000}"/>
          </ac:spMkLst>
        </pc:spChg>
      </pc:sldChg>
      <pc:sldChg chg="modSp mod">
        <pc:chgData name="Mazlan, Azimah" userId="a7531543-a4ed-47aa-8443-a6e7cc8df1b5" providerId="ADAL" clId="{24C2857D-7DB2-470F-A8FE-F1747C09925F}" dt="2024-05-21T04:34:14.567" v="3403" actId="14100"/>
        <pc:sldMkLst>
          <pc:docMk/>
          <pc:sldMk cId="860847021" sldId="531"/>
        </pc:sldMkLst>
        <pc:spChg chg="mod">
          <ac:chgData name="Mazlan, Azimah" userId="a7531543-a4ed-47aa-8443-a6e7cc8df1b5" providerId="ADAL" clId="{24C2857D-7DB2-470F-A8FE-F1747C09925F}" dt="2024-05-21T04:34:14.567" v="3403" actId="14100"/>
          <ac:spMkLst>
            <pc:docMk/>
            <pc:sldMk cId="860847021" sldId="531"/>
            <ac:spMk id="2" creationId="{00000000-0000-0000-0000-000000000000}"/>
          </ac:spMkLst>
        </pc:spChg>
      </pc:sldChg>
      <pc:sldChg chg="addSp modSp mod">
        <pc:chgData name="Mazlan, Azimah" userId="a7531543-a4ed-47aa-8443-a6e7cc8df1b5" providerId="ADAL" clId="{24C2857D-7DB2-470F-A8FE-F1747C09925F}" dt="2024-05-23T01:11:53.541" v="5947" actId="1076"/>
        <pc:sldMkLst>
          <pc:docMk/>
          <pc:sldMk cId="2314756936" sldId="532"/>
        </pc:sldMkLst>
        <pc:spChg chg="mod">
          <ac:chgData name="Mazlan, Azimah" userId="a7531543-a4ed-47aa-8443-a6e7cc8df1b5" providerId="ADAL" clId="{24C2857D-7DB2-470F-A8FE-F1747C09925F}" dt="2024-05-23T01:05:32.775" v="5858" actId="13926"/>
          <ac:spMkLst>
            <pc:docMk/>
            <pc:sldMk cId="2314756936" sldId="532"/>
            <ac:spMk id="2" creationId="{C760EF82-B59A-C06D-9C6E-26FC90AC733D}"/>
          </ac:spMkLst>
        </pc:spChg>
        <pc:spChg chg="mod">
          <ac:chgData name="Mazlan, Azimah" userId="a7531543-a4ed-47aa-8443-a6e7cc8df1b5" providerId="ADAL" clId="{24C2857D-7DB2-470F-A8FE-F1747C09925F}" dt="2024-05-21T07:41:55.906" v="4540" actId="13926"/>
          <ac:spMkLst>
            <pc:docMk/>
            <pc:sldMk cId="2314756936" sldId="532"/>
            <ac:spMk id="3" creationId="{ED7D14D0-6B01-60CC-B181-51C35543D87D}"/>
          </ac:spMkLst>
        </pc:spChg>
        <pc:graphicFrameChg chg="add mod modGraphic">
          <ac:chgData name="Mazlan, Azimah" userId="a7531543-a4ed-47aa-8443-a6e7cc8df1b5" providerId="ADAL" clId="{24C2857D-7DB2-470F-A8FE-F1747C09925F}" dt="2024-05-23T01:11:53.541" v="5947" actId="1076"/>
          <ac:graphicFrameMkLst>
            <pc:docMk/>
            <pc:sldMk cId="2314756936" sldId="532"/>
            <ac:graphicFrameMk id="8" creationId="{76C85663-DA4D-6D16-AC60-74AA9F73D7EF}"/>
          </ac:graphicFrameMkLst>
        </pc:graphicFrameChg>
      </pc:sldChg>
      <pc:sldChg chg="addSp modSp mod">
        <pc:chgData name="Mazlan, Azimah" userId="a7531543-a4ed-47aa-8443-a6e7cc8df1b5" providerId="ADAL" clId="{24C2857D-7DB2-470F-A8FE-F1747C09925F}" dt="2024-05-23T01:38:16.644" v="6110" actId="1076"/>
        <pc:sldMkLst>
          <pc:docMk/>
          <pc:sldMk cId="698689532" sldId="534"/>
        </pc:sldMkLst>
        <pc:spChg chg="add mod">
          <ac:chgData name="Mazlan, Azimah" userId="a7531543-a4ed-47aa-8443-a6e7cc8df1b5" providerId="ADAL" clId="{24C2857D-7DB2-470F-A8FE-F1747C09925F}" dt="2024-05-23T01:38:16.644" v="6110" actId="1076"/>
          <ac:spMkLst>
            <pc:docMk/>
            <pc:sldMk cId="698689532" sldId="534"/>
            <ac:spMk id="4" creationId="{8AC17F75-4462-0A4D-E2ED-7BC263FCF2B2}"/>
          </ac:spMkLst>
        </pc:spChg>
        <pc:graphicFrameChg chg="mod modGraphic">
          <ac:chgData name="Mazlan, Azimah" userId="a7531543-a4ed-47aa-8443-a6e7cc8df1b5" providerId="ADAL" clId="{24C2857D-7DB2-470F-A8FE-F1747C09925F}" dt="2024-05-23T01:23:35.421" v="6007" actId="20577"/>
          <ac:graphicFrameMkLst>
            <pc:docMk/>
            <pc:sldMk cId="698689532" sldId="534"/>
            <ac:graphicFrameMk id="3" creationId="{D5756550-34FE-F0A1-6FFC-6BD9C24AC442}"/>
          </ac:graphicFrameMkLst>
        </pc:graphicFrameChg>
      </pc:sldChg>
      <pc:sldChg chg="modSp mod">
        <pc:chgData name="Mazlan, Azimah" userId="a7531543-a4ed-47aa-8443-a6e7cc8df1b5" providerId="ADAL" clId="{24C2857D-7DB2-470F-A8FE-F1747C09925F}" dt="2024-05-21T07:43:02.759" v="4604" actId="20577"/>
        <pc:sldMkLst>
          <pc:docMk/>
          <pc:sldMk cId="1549903473" sldId="536"/>
        </pc:sldMkLst>
        <pc:spChg chg="mod">
          <ac:chgData name="Mazlan, Azimah" userId="a7531543-a4ed-47aa-8443-a6e7cc8df1b5" providerId="ADAL" clId="{24C2857D-7DB2-470F-A8FE-F1747C09925F}" dt="2024-05-21T07:43:02.759" v="4604" actId="20577"/>
          <ac:spMkLst>
            <pc:docMk/>
            <pc:sldMk cId="1549903473" sldId="536"/>
            <ac:spMk id="5" creationId="{CFE21EF0-841F-DDAD-6744-92193F1F681A}"/>
          </ac:spMkLst>
        </pc:spChg>
      </pc:sldChg>
      <pc:sldChg chg="addSp delSp modSp mod">
        <pc:chgData name="Mazlan, Azimah" userId="a7531543-a4ed-47aa-8443-a6e7cc8df1b5" providerId="ADAL" clId="{24C2857D-7DB2-470F-A8FE-F1747C09925F}" dt="2024-05-23T01:10:11.998" v="5933" actId="478"/>
        <pc:sldMkLst>
          <pc:docMk/>
          <pc:sldMk cId="2790691263" sldId="537"/>
        </pc:sldMkLst>
        <pc:spChg chg="mod">
          <ac:chgData name="Mazlan, Azimah" userId="a7531543-a4ed-47aa-8443-a6e7cc8df1b5" providerId="ADAL" clId="{24C2857D-7DB2-470F-A8FE-F1747C09925F}" dt="2024-05-22T15:29:17.375" v="5026" actId="1076"/>
          <ac:spMkLst>
            <pc:docMk/>
            <pc:sldMk cId="2790691263" sldId="537"/>
            <ac:spMk id="2" creationId="{E2B32D67-41DF-6F08-B909-2F0935917CBB}"/>
          </ac:spMkLst>
        </pc:spChg>
        <pc:spChg chg="add del mod">
          <ac:chgData name="Mazlan, Azimah" userId="a7531543-a4ed-47aa-8443-a6e7cc8df1b5" providerId="ADAL" clId="{24C2857D-7DB2-470F-A8FE-F1747C09925F}" dt="2024-05-23T01:10:11.998" v="5933" actId="478"/>
          <ac:spMkLst>
            <pc:docMk/>
            <pc:sldMk cId="2790691263" sldId="537"/>
            <ac:spMk id="7" creationId="{57E4F624-2683-1793-1839-F36E633647F8}"/>
          </ac:spMkLst>
        </pc:spChg>
        <pc:spChg chg="add del mod">
          <ac:chgData name="Mazlan, Azimah" userId="a7531543-a4ed-47aa-8443-a6e7cc8df1b5" providerId="ADAL" clId="{24C2857D-7DB2-470F-A8FE-F1747C09925F}" dt="2024-05-20T09:41:22.021" v="1110" actId="478"/>
          <ac:spMkLst>
            <pc:docMk/>
            <pc:sldMk cId="2790691263" sldId="537"/>
            <ac:spMk id="8" creationId="{B16F0467-C000-5F84-78C9-8938BA0CD6E3}"/>
          </ac:spMkLst>
        </pc:spChg>
        <pc:graphicFrameChg chg="mod ord modGraphic">
          <ac:chgData name="Mazlan, Azimah" userId="a7531543-a4ed-47aa-8443-a6e7cc8df1b5" providerId="ADAL" clId="{24C2857D-7DB2-470F-A8FE-F1747C09925F}" dt="2024-05-23T01:09:13.161" v="5923" actId="167"/>
          <ac:graphicFrameMkLst>
            <pc:docMk/>
            <pc:sldMk cId="2790691263" sldId="537"/>
            <ac:graphicFrameMk id="3" creationId="{D5756550-34FE-F0A1-6FFC-6BD9C24AC442}"/>
          </ac:graphicFrameMkLst>
        </pc:graphicFrameChg>
        <pc:picChg chg="add mod">
          <ac:chgData name="Mazlan, Azimah" userId="a7531543-a4ed-47aa-8443-a6e7cc8df1b5" providerId="ADAL" clId="{24C2857D-7DB2-470F-A8FE-F1747C09925F}" dt="2024-05-20T09:36:10.308" v="1092" actId="1076"/>
          <ac:picMkLst>
            <pc:docMk/>
            <pc:sldMk cId="2790691263" sldId="537"/>
            <ac:picMk id="5" creationId="{8E8A4F98-7194-8790-B859-2413A273D3F8}"/>
          </ac:picMkLst>
        </pc:picChg>
        <pc:picChg chg="add mod">
          <ac:chgData name="Mazlan, Azimah" userId="a7531543-a4ed-47aa-8443-a6e7cc8df1b5" providerId="ADAL" clId="{24C2857D-7DB2-470F-A8FE-F1747C09925F}" dt="2024-05-23T01:10:09.432" v="5932"/>
          <ac:picMkLst>
            <pc:docMk/>
            <pc:sldMk cId="2790691263" sldId="537"/>
            <ac:picMk id="6" creationId="{D7B109C8-3D89-A199-49FF-EF8566A685A9}"/>
          </ac:picMkLst>
        </pc:picChg>
        <pc:picChg chg="add del mod">
          <ac:chgData name="Mazlan, Azimah" userId="a7531543-a4ed-47aa-8443-a6e7cc8df1b5" providerId="ADAL" clId="{24C2857D-7DB2-470F-A8FE-F1747C09925F}" dt="2024-05-20T09:36:46.499" v="1095" actId="478"/>
          <ac:picMkLst>
            <pc:docMk/>
            <pc:sldMk cId="2790691263" sldId="537"/>
            <ac:picMk id="6" creationId="{F61DCBB6-5B63-0FA0-CA2F-69C0A682E626}"/>
          </ac:picMkLst>
        </pc:picChg>
        <pc:picChg chg="add del mod">
          <ac:chgData name="Mazlan, Azimah" userId="a7531543-a4ed-47aa-8443-a6e7cc8df1b5" providerId="ADAL" clId="{24C2857D-7DB2-470F-A8FE-F1747C09925F}" dt="2024-05-20T09:40:30.035" v="1106" actId="478"/>
          <ac:picMkLst>
            <pc:docMk/>
            <pc:sldMk cId="2790691263" sldId="537"/>
            <ac:picMk id="1026" creationId="{F198D9FD-5638-DC0D-CE9C-D6BBD17CADA6}"/>
          </ac:picMkLst>
        </pc:picChg>
      </pc:sldChg>
      <pc:sldChg chg="addSp delSp modSp new mod ord">
        <pc:chgData name="Mazlan, Azimah" userId="a7531543-a4ed-47aa-8443-a6e7cc8df1b5" providerId="ADAL" clId="{24C2857D-7DB2-470F-A8FE-F1747C09925F}" dt="2024-05-23T01:37:08.801" v="6100" actId="478"/>
        <pc:sldMkLst>
          <pc:docMk/>
          <pc:sldMk cId="2664744297" sldId="538"/>
        </pc:sldMkLst>
        <pc:spChg chg="mod">
          <ac:chgData name="Mazlan, Azimah" userId="a7531543-a4ed-47aa-8443-a6e7cc8df1b5" providerId="ADAL" clId="{24C2857D-7DB2-470F-A8FE-F1747C09925F}" dt="2024-05-20T15:40:41.804" v="1179" actId="20577"/>
          <ac:spMkLst>
            <pc:docMk/>
            <pc:sldMk cId="2664744297" sldId="538"/>
            <ac:spMk id="2" creationId="{F8175963-8D5E-E1AD-F197-2F6B3984CB5F}"/>
          </ac:spMkLst>
        </pc:spChg>
        <pc:spChg chg="add mod">
          <ac:chgData name="Mazlan, Azimah" userId="a7531543-a4ed-47aa-8443-a6e7cc8df1b5" providerId="ADAL" clId="{24C2857D-7DB2-470F-A8FE-F1747C09925F}" dt="2024-05-20T15:40:20.635" v="1141"/>
          <ac:spMkLst>
            <pc:docMk/>
            <pc:sldMk cId="2664744297" sldId="538"/>
            <ac:spMk id="3" creationId="{7BCC96FA-81D3-C5D7-A1E5-6B14AC28A5BC}"/>
          </ac:spMkLst>
        </pc:spChg>
        <pc:spChg chg="mod">
          <ac:chgData name="Mazlan, Azimah" userId="a7531543-a4ed-47aa-8443-a6e7cc8df1b5" providerId="ADAL" clId="{24C2857D-7DB2-470F-A8FE-F1747C09925F}" dt="2024-05-21T06:32:43.740" v="3852" actId="1036"/>
          <ac:spMkLst>
            <pc:docMk/>
            <pc:sldMk cId="2664744297" sldId="538"/>
            <ac:spMk id="9" creationId="{242673EB-C1C0-11A1-1C69-B0AFC6ABF8BB}"/>
          </ac:spMkLst>
        </pc:spChg>
        <pc:spChg chg="mod">
          <ac:chgData name="Mazlan, Azimah" userId="a7531543-a4ed-47aa-8443-a6e7cc8df1b5" providerId="ADAL" clId="{24C2857D-7DB2-470F-A8FE-F1747C09925F}" dt="2024-05-21T06:37:36.349" v="3992" actId="1036"/>
          <ac:spMkLst>
            <pc:docMk/>
            <pc:sldMk cId="2664744297" sldId="538"/>
            <ac:spMk id="10" creationId="{C835F1A6-5AC7-F10A-9C12-C69029EF8F5D}"/>
          </ac:spMkLst>
        </pc:spChg>
        <pc:spChg chg="mod">
          <ac:chgData name="Mazlan, Azimah" userId="a7531543-a4ed-47aa-8443-a6e7cc8df1b5" providerId="ADAL" clId="{24C2857D-7DB2-470F-A8FE-F1747C09925F}" dt="2024-05-21T06:36:04.963" v="3912" actId="14100"/>
          <ac:spMkLst>
            <pc:docMk/>
            <pc:sldMk cId="2664744297" sldId="538"/>
            <ac:spMk id="11" creationId="{56EE131D-E7D7-6C1A-3D41-D47BF9C5B202}"/>
          </ac:spMkLst>
        </pc:spChg>
        <pc:spChg chg="mod">
          <ac:chgData name="Mazlan, Azimah" userId="a7531543-a4ed-47aa-8443-a6e7cc8df1b5" providerId="ADAL" clId="{24C2857D-7DB2-470F-A8FE-F1747C09925F}" dt="2024-05-21T06:37:02.881" v="3950" actId="1036"/>
          <ac:spMkLst>
            <pc:docMk/>
            <pc:sldMk cId="2664744297" sldId="538"/>
            <ac:spMk id="12" creationId="{9CF463F2-193C-37EE-688B-B3E754142CD9}"/>
          </ac:spMkLst>
        </pc:spChg>
        <pc:spChg chg="mod">
          <ac:chgData name="Mazlan, Azimah" userId="a7531543-a4ed-47aa-8443-a6e7cc8df1b5" providerId="ADAL" clId="{24C2857D-7DB2-470F-A8FE-F1747C09925F}" dt="2024-05-21T07:19:11.154" v="4539" actId="1036"/>
          <ac:spMkLst>
            <pc:docMk/>
            <pc:sldMk cId="2664744297" sldId="538"/>
            <ac:spMk id="13" creationId="{F7361F5A-D04D-C8EA-D950-DF499B46087A}"/>
          </ac:spMkLst>
        </pc:spChg>
        <pc:spChg chg="mod">
          <ac:chgData name="Mazlan, Azimah" userId="a7531543-a4ed-47aa-8443-a6e7cc8df1b5" providerId="ADAL" clId="{24C2857D-7DB2-470F-A8FE-F1747C09925F}" dt="2024-05-21T06:38:03.840" v="4010" actId="1035"/>
          <ac:spMkLst>
            <pc:docMk/>
            <pc:sldMk cId="2664744297" sldId="538"/>
            <ac:spMk id="14" creationId="{E7EB4118-324E-3745-2DAB-91A55906C97D}"/>
          </ac:spMkLst>
        </pc:spChg>
        <pc:spChg chg="del mod">
          <ac:chgData name="Mazlan, Azimah" userId="a7531543-a4ed-47aa-8443-a6e7cc8df1b5" providerId="ADAL" clId="{24C2857D-7DB2-470F-A8FE-F1747C09925F}" dt="2024-05-21T05:35:07.180" v="3621" actId="478"/>
          <ac:spMkLst>
            <pc:docMk/>
            <pc:sldMk cId="2664744297" sldId="538"/>
            <ac:spMk id="15" creationId="{6FEA6B77-115A-0FFE-3F26-CFBE47358679}"/>
          </ac:spMkLst>
        </pc:spChg>
        <pc:spChg chg="mod">
          <ac:chgData name="Mazlan, Azimah" userId="a7531543-a4ed-47aa-8443-a6e7cc8df1b5" providerId="ADAL" clId="{24C2857D-7DB2-470F-A8FE-F1747C09925F}" dt="2024-05-20T15:40:20.635" v="1141"/>
          <ac:spMkLst>
            <pc:docMk/>
            <pc:sldMk cId="2664744297" sldId="538"/>
            <ac:spMk id="19" creationId="{64A3B80B-D5A6-F1F9-F1E4-F572E214FA62}"/>
          </ac:spMkLst>
        </pc:spChg>
        <pc:spChg chg="mod">
          <ac:chgData name="Mazlan, Azimah" userId="a7531543-a4ed-47aa-8443-a6e7cc8df1b5" providerId="ADAL" clId="{24C2857D-7DB2-470F-A8FE-F1747C09925F}" dt="2024-05-20T15:40:20.635" v="1141"/>
          <ac:spMkLst>
            <pc:docMk/>
            <pc:sldMk cId="2664744297" sldId="538"/>
            <ac:spMk id="20" creationId="{A6A08966-3F25-3EF6-EC36-79790DB945FF}"/>
          </ac:spMkLst>
        </pc:spChg>
        <pc:spChg chg="mod">
          <ac:chgData name="Mazlan, Azimah" userId="a7531543-a4ed-47aa-8443-a6e7cc8df1b5" providerId="ADAL" clId="{24C2857D-7DB2-470F-A8FE-F1747C09925F}" dt="2024-05-20T15:40:20.635" v="1141"/>
          <ac:spMkLst>
            <pc:docMk/>
            <pc:sldMk cId="2664744297" sldId="538"/>
            <ac:spMk id="21" creationId="{4E6A5A14-CF32-5A09-BE22-255C8E97D902}"/>
          </ac:spMkLst>
        </pc:spChg>
        <pc:spChg chg="mod">
          <ac:chgData name="Mazlan, Azimah" userId="a7531543-a4ed-47aa-8443-a6e7cc8df1b5" providerId="ADAL" clId="{24C2857D-7DB2-470F-A8FE-F1747C09925F}" dt="2024-05-20T15:40:20.635" v="1141"/>
          <ac:spMkLst>
            <pc:docMk/>
            <pc:sldMk cId="2664744297" sldId="538"/>
            <ac:spMk id="22" creationId="{53FEDEBA-3EAC-8C5D-922B-42157FF6FC35}"/>
          </ac:spMkLst>
        </pc:spChg>
        <pc:spChg chg="mod">
          <ac:chgData name="Mazlan, Azimah" userId="a7531543-a4ed-47aa-8443-a6e7cc8df1b5" providerId="ADAL" clId="{24C2857D-7DB2-470F-A8FE-F1747C09925F}" dt="2024-05-20T15:40:20.635" v="1141"/>
          <ac:spMkLst>
            <pc:docMk/>
            <pc:sldMk cId="2664744297" sldId="538"/>
            <ac:spMk id="23" creationId="{94CECE55-A14D-4921-893D-4526658FFC1B}"/>
          </ac:spMkLst>
        </pc:spChg>
        <pc:spChg chg="add del mod">
          <ac:chgData name="Mazlan, Azimah" userId="a7531543-a4ed-47aa-8443-a6e7cc8df1b5" providerId="ADAL" clId="{24C2857D-7DB2-470F-A8FE-F1747C09925F}" dt="2024-05-23T01:37:08.801" v="6100" actId="478"/>
          <ac:spMkLst>
            <pc:docMk/>
            <pc:sldMk cId="2664744297" sldId="538"/>
            <ac:spMk id="24" creationId="{9319A3EF-6F37-8165-A854-4637347003EF}"/>
          </ac:spMkLst>
        </pc:spChg>
        <pc:grpChg chg="add mod">
          <ac:chgData name="Mazlan, Azimah" userId="a7531543-a4ed-47aa-8443-a6e7cc8df1b5" providerId="ADAL" clId="{24C2857D-7DB2-470F-A8FE-F1747C09925F}" dt="2024-05-20T15:40:20.635" v="1141"/>
          <ac:grpSpMkLst>
            <pc:docMk/>
            <pc:sldMk cId="2664744297" sldId="538"/>
            <ac:grpSpMk id="8" creationId="{F153FCAE-14A5-FE80-AE04-D95A69A7B7BB}"/>
          </ac:grpSpMkLst>
        </pc:grpChg>
        <pc:grpChg chg="add del mod">
          <ac:chgData name="Mazlan, Azimah" userId="a7531543-a4ed-47aa-8443-a6e7cc8df1b5" providerId="ADAL" clId="{24C2857D-7DB2-470F-A8FE-F1747C09925F}" dt="2024-05-20T15:43:25.074" v="1410" actId="478"/>
          <ac:grpSpMkLst>
            <pc:docMk/>
            <pc:sldMk cId="2664744297" sldId="538"/>
            <ac:grpSpMk id="18" creationId="{52586E90-F418-4BF4-FF82-F6745FB2CBAA}"/>
          </ac:grpSpMkLst>
        </pc:grpChg>
        <pc:graphicFrameChg chg="add mod modGraphic">
          <ac:chgData name="Mazlan, Azimah" userId="a7531543-a4ed-47aa-8443-a6e7cc8df1b5" providerId="ADAL" clId="{24C2857D-7DB2-470F-A8FE-F1747C09925F}" dt="2024-05-21T06:37:17.562" v="3957" actId="1035"/>
          <ac:graphicFrameMkLst>
            <pc:docMk/>
            <pc:sldMk cId="2664744297" sldId="538"/>
            <ac:graphicFrameMk id="4" creationId="{12B72359-E2C8-A675-5760-C6652544C175}"/>
          </ac:graphicFrameMkLst>
        </pc:graphicFrameChg>
        <pc:graphicFrameChg chg="add mod">
          <ac:chgData name="Mazlan, Azimah" userId="a7531543-a4ed-47aa-8443-a6e7cc8df1b5" providerId="ADAL" clId="{24C2857D-7DB2-470F-A8FE-F1747C09925F}" dt="2024-05-21T06:37:11.115" v="3952" actId="1035"/>
          <ac:graphicFrameMkLst>
            <pc:docMk/>
            <pc:sldMk cId="2664744297" sldId="538"/>
            <ac:graphicFrameMk id="5" creationId="{BEB160C6-0F84-E555-2ED4-5EEFBC53ADFD}"/>
          </ac:graphicFrameMkLst>
        </pc:graphicFrameChg>
        <pc:graphicFrameChg chg="add del mod">
          <ac:chgData name="Mazlan, Azimah" userId="a7531543-a4ed-47aa-8443-a6e7cc8df1b5" providerId="ADAL" clId="{24C2857D-7DB2-470F-A8FE-F1747C09925F}" dt="2024-05-21T05:53:15.128" v="3753" actId="478"/>
          <ac:graphicFrameMkLst>
            <pc:docMk/>
            <pc:sldMk cId="2664744297" sldId="538"/>
            <ac:graphicFrameMk id="6" creationId="{1654D8B3-658C-1981-A648-555FAE099978}"/>
          </ac:graphicFrameMkLst>
        </pc:graphicFrameChg>
        <pc:graphicFrameChg chg="add mod">
          <ac:chgData name="Mazlan, Azimah" userId="a7531543-a4ed-47aa-8443-a6e7cc8df1b5" providerId="ADAL" clId="{24C2857D-7DB2-470F-A8FE-F1747C09925F}" dt="2024-05-21T06:37:41.916" v="3997" actId="1036"/>
          <ac:graphicFrameMkLst>
            <pc:docMk/>
            <pc:sldMk cId="2664744297" sldId="538"/>
            <ac:graphicFrameMk id="7" creationId="{E01B4061-C3B4-C758-555C-B2122C457A7D}"/>
          </ac:graphicFrameMkLst>
        </pc:graphicFrameChg>
        <pc:graphicFrameChg chg="add mod modGraphic">
          <ac:chgData name="Mazlan, Azimah" userId="a7531543-a4ed-47aa-8443-a6e7cc8df1b5" providerId="ADAL" clId="{24C2857D-7DB2-470F-A8FE-F1747C09925F}" dt="2024-05-21T06:37:46.582" v="4001" actId="1036"/>
          <ac:graphicFrameMkLst>
            <pc:docMk/>
            <pc:sldMk cId="2664744297" sldId="538"/>
            <ac:graphicFrameMk id="16" creationId="{E7EC5FE3-2B8C-5B22-53BB-3BE8D3FC0327}"/>
          </ac:graphicFrameMkLst>
        </pc:graphicFrameChg>
        <pc:graphicFrameChg chg="add mod modGraphic">
          <ac:chgData name="Mazlan, Azimah" userId="a7531543-a4ed-47aa-8443-a6e7cc8df1b5" providerId="ADAL" clId="{24C2857D-7DB2-470F-A8FE-F1747C09925F}" dt="2024-05-21T06:37:23.878" v="3972" actId="1036"/>
          <ac:graphicFrameMkLst>
            <pc:docMk/>
            <pc:sldMk cId="2664744297" sldId="538"/>
            <ac:graphicFrameMk id="17" creationId="{88F89BF1-9F5C-C4B7-A5B6-CAB968D0236F}"/>
          </ac:graphicFrameMkLst>
        </pc:graphicFrameChg>
      </pc:sldChg>
      <pc:sldChg chg="modSp mod">
        <pc:chgData name="Mazlan, Azimah" userId="a7531543-a4ed-47aa-8443-a6e7cc8df1b5" providerId="ADAL" clId="{24C2857D-7DB2-470F-A8FE-F1747C09925F}" dt="2024-05-20T15:40:11.268" v="1140" actId="20577"/>
        <pc:sldMkLst>
          <pc:docMk/>
          <pc:sldMk cId="2964367679" sldId="539"/>
        </pc:sldMkLst>
        <pc:spChg chg="mod">
          <ac:chgData name="Mazlan, Azimah" userId="a7531543-a4ed-47aa-8443-a6e7cc8df1b5" providerId="ADAL" clId="{24C2857D-7DB2-470F-A8FE-F1747C09925F}" dt="2024-05-20T15:40:11.268" v="1140" actId="20577"/>
          <ac:spMkLst>
            <pc:docMk/>
            <pc:sldMk cId="2964367679" sldId="539"/>
            <ac:spMk id="2" creationId="{00000000-0000-0000-0000-000000000000}"/>
          </ac:spMkLst>
        </pc:spChg>
      </pc:sldChg>
      <pc:sldChg chg="addSp delSp modSp new mod">
        <pc:chgData name="Mazlan, Azimah" userId="a7531543-a4ed-47aa-8443-a6e7cc8df1b5" providerId="ADAL" clId="{24C2857D-7DB2-470F-A8FE-F1747C09925F}" dt="2024-05-23T01:37:02.223" v="6099" actId="207"/>
        <pc:sldMkLst>
          <pc:docMk/>
          <pc:sldMk cId="507903638" sldId="540"/>
        </pc:sldMkLst>
        <pc:spChg chg="mod">
          <ac:chgData name="Mazlan, Azimah" userId="a7531543-a4ed-47aa-8443-a6e7cc8df1b5" providerId="ADAL" clId="{24C2857D-7DB2-470F-A8FE-F1747C09925F}" dt="2024-05-20T16:47:22.749" v="2327" actId="20577"/>
          <ac:spMkLst>
            <pc:docMk/>
            <pc:sldMk cId="507903638" sldId="540"/>
            <ac:spMk id="2" creationId="{FA385C38-535D-934E-0349-0150B64F9CB1}"/>
          </ac:spMkLst>
        </pc:spChg>
        <pc:spChg chg="add mod">
          <ac:chgData name="Mazlan, Azimah" userId="a7531543-a4ed-47aa-8443-a6e7cc8df1b5" providerId="ADAL" clId="{24C2857D-7DB2-470F-A8FE-F1747C09925F}" dt="2024-05-23T01:37:02.223" v="6099" actId="207"/>
          <ac:spMkLst>
            <pc:docMk/>
            <pc:sldMk cId="507903638" sldId="540"/>
            <ac:spMk id="9" creationId="{6B8E338E-278A-3429-3D75-B78EB6C07EBE}"/>
          </ac:spMkLst>
        </pc:spChg>
        <pc:graphicFrameChg chg="add mod">
          <ac:chgData name="Mazlan, Azimah" userId="a7531543-a4ed-47aa-8443-a6e7cc8df1b5" providerId="ADAL" clId="{24C2857D-7DB2-470F-A8FE-F1747C09925F}" dt="2024-05-20T16:45:19.036" v="2301" actId="1076"/>
          <ac:graphicFrameMkLst>
            <pc:docMk/>
            <pc:sldMk cId="507903638" sldId="540"/>
            <ac:graphicFrameMk id="3" creationId="{16E77073-088D-C86C-E801-05C0CCDE2318}"/>
          </ac:graphicFrameMkLst>
        </pc:graphicFrameChg>
        <pc:graphicFrameChg chg="add mod">
          <ac:chgData name="Mazlan, Azimah" userId="a7531543-a4ed-47aa-8443-a6e7cc8df1b5" providerId="ADAL" clId="{24C2857D-7DB2-470F-A8FE-F1747C09925F}" dt="2024-05-20T16:45:19.036" v="2301" actId="1076"/>
          <ac:graphicFrameMkLst>
            <pc:docMk/>
            <pc:sldMk cId="507903638" sldId="540"/>
            <ac:graphicFrameMk id="4" creationId="{6725575B-F7F5-0413-0605-0D5A11B31DED}"/>
          </ac:graphicFrameMkLst>
        </pc:graphicFrameChg>
        <pc:graphicFrameChg chg="add mod">
          <ac:chgData name="Mazlan, Azimah" userId="a7531543-a4ed-47aa-8443-a6e7cc8df1b5" providerId="ADAL" clId="{24C2857D-7DB2-470F-A8FE-F1747C09925F}" dt="2024-05-20T16:45:19.036" v="2301" actId="1076"/>
          <ac:graphicFrameMkLst>
            <pc:docMk/>
            <pc:sldMk cId="507903638" sldId="540"/>
            <ac:graphicFrameMk id="5" creationId="{CA74890D-F5F5-3ED5-8540-766825B197DA}"/>
          </ac:graphicFrameMkLst>
        </pc:graphicFrameChg>
        <pc:graphicFrameChg chg="add mod modGraphic">
          <ac:chgData name="Mazlan, Azimah" userId="a7531543-a4ed-47aa-8443-a6e7cc8df1b5" providerId="ADAL" clId="{24C2857D-7DB2-470F-A8FE-F1747C09925F}" dt="2024-05-23T01:31:49.256" v="6097" actId="113"/>
          <ac:graphicFrameMkLst>
            <pc:docMk/>
            <pc:sldMk cId="507903638" sldId="540"/>
            <ac:graphicFrameMk id="6" creationId="{16BF4DFF-06F0-7930-D27D-09252AA88AFC}"/>
          </ac:graphicFrameMkLst>
        </pc:graphicFrameChg>
        <pc:graphicFrameChg chg="add del mod">
          <ac:chgData name="Mazlan, Azimah" userId="a7531543-a4ed-47aa-8443-a6e7cc8df1b5" providerId="ADAL" clId="{24C2857D-7DB2-470F-A8FE-F1747C09925F}" dt="2024-05-20T16:46:12.505" v="2304" actId="478"/>
          <ac:graphicFrameMkLst>
            <pc:docMk/>
            <pc:sldMk cId="507903638" sldId="540"/>
            <ac:graphicFrameMk id="7" creationId="{E73627EE-ED7A-E42D-2584-9E0E680C6029}"/>
          </ac:graphicFrameMkLst>
        </pc:graphicFrameChg>
        <pc:graphicFrameChg chg="add del mod modGraphic">
          <ac:chgData name="Mazlan, Azimah" userId="a7531543-a4ed-47aa-8443-a6e7cc8df1b5" providerId="ADAL" clId="{24C2857D-7DB2-470F-A8FE-F1747C09925F}" dt="2024-05-22T15:25:27.935" v="4872" actId="478"/>
          <ac:graphicFrameMkLst>
            <pc:docMk/>
            <pc:sldMk cId="507903638" sldId="540"/>
            <ac:graphicFrameMk id="8" creationId="{D72F08D4-9149-4B74-8CD8-A11E3A9B7F68}"/>
          </ac:graphicFrameMkLst>
        </pc:graphicFrameChg>
        <pc:picChg chg="add del mod">
          <ac:chgData name="Mazlan, Azimah" userId="a7531543-a4ed-47aa-8443-a6e7cc8df1b5" providerId="ADAL" clId="{24C2857D-7DB2-470F-A8FE-F1747C09925F}" dt="2024-05-21T01:31:39.684" v="2978" actId="478"/>
          <ac:picMkLst>
            <pc:docMk/>
            <pc:sldMk cId="507903638" sldId="540"/>
            <ac:picMk id="4" creationId="{0FD542A0-F30E-1BE3-302C-F6646A678664}"/>
          </ac:picMkLst>
        </pc:picChg>
        <pc:picChg chg="add del mod">
          <ac:chgData name="Mazlan, Azimah" userId="a7531543-a4ed-47aa-8443-a6e7cc8df1b5" providerId="ADAL" clId="{24C2857D-7DB2-470F-A8FE-F1747C09925F}" dt="2024-05-20T16:53:57.787" v="2389" actId="478"/>
          <ac:picMkLst>
            <pc:docMk/>
            <pc:sldMk cId="507903638" sldId="540"/>
            <ac:picMk id="11" creationId="{D3828A89-F808-5D33-21EF-BE205E21CDFA}"/>
          </ac:picMkLst>
        </pc:picChg>
      </pc:sldChg>
      <pc:sldChg chg="modSp mod">
        <pc:chgData name="Mazlan, Azimah" userId="a7531543-a4ed-47aa-8443-a6e7cc8df1b5" providerId="ADAL" clId="{24C2857D-7DB2-470F-A8FE-F1747C09925F}" dt="2024-05-20T16:29:54.953" v="2119" actId="20577"/>
        <pc:sldMkLst>
          <pc:docMk/>
          <pc:sldMk cId="3428561651" sldId="541"/>
        </pc:sldMkLst>
        <pc:spChg chg="mod">
          <ac:chgData name="Mazlan, Azimah" userId="a7531543-a4ed-47aa-8443-a6e7cc8df1b5" providerId="ADAL" clId="{24C2857D-7DB2-470F-A8FE-F1747C09925F}" dt="2024-05-20T16:29:54.953" v="2119" actId="20577"/>
          <ac:spMkLst>
            <pc:docMk/>
            <pc:sldMk cId="3428561651" sldId="541"/>
            <ac:spMk id="2" creationId="{00000000-0000-0000-0000-000000000000}"/>
          </ac:spMkLst>
        </pc:spChg>
      </pc:sldChg>
      <pc:sldChg chg="addSp delSp modSp new mod ord">
        <pc:chgData name="Mazlan, Azimah" userId="a7531543-a4ed-47aa-8443-a6e7cc8df1b5" providerId="ADAL" clId="{24C2857D-7DB2-470F-A8FE-F1747C09925F}" dt="2024-05-23T01:37:43.107" v="6108" actId="14100"/>
        <pc:sldMkLst>
          <pc:docMk/>
          <pc:sldMk cId="3913741190" sldId="542"/>
        </pc:sldMkLst>
        <pc:spChg chg="mod">
          <ac:chgData name="Mazlan, Azimah" userId="a7531543-a4ed-47aa-8443-a6e7cc8df1b5" providerId="ADAL" clId="{24C2857D-7DB2-470F-A8FE-F1747C09925F}" dt="2024-05-22T15:31:56.486" v="5107" actId="20577"/>
          <ac:spMkLst>
            <pc:docMk/>
            <pc:sldMk cId="3913741190" sldId="542"/>
            <ac:spMk id="2" creationId="{1A83A40B-2795-6EAF-6622-A6C4A7ED751D}"/>
          </ac:spMkLst>
        </pc:spChg>
        <pc:spChg chg="add del mod">
          <ac:chgData name="Mazlan, Azimah" userId="a7531543-a4ed-47aa-8443-a6e7cc8df1b5" providerId="ADAL" clId="{24C2857D-7DB2-470F-A8FE-F1747C09925F}" dt="2024-05-22T15:39:48.566" v="5255" actId="478"/>
          <ac:spMkLst>
            <pc:docMk/>
            <pc:sldMk cId="3913741190" sldId="542"/>
            <ac:spMk id="3" creationId="{10081727-B214-058E-DFB7-566B5161A542}"/>
          </ac:spMkLst>
        </pc:spChg>
        <pc:spChg chg="add mod">
          <ac:chgData name="Mazlan, Azimah" userId="a7531543-a4ed-47aa-8443-a6e7cc8df1b5" providerId="ADAL" clId="{24C2857D-7DB2-470F-A8FE-F1747C09925F}" dt="2024-05-23T01:37:43.107" v="6108" actId="14100"/>
          <ac:spMkLst>
            <pc:docMk/>
            <pc:sldMk cId="3913741190" sldId="542"/>
            <ac:spMk id="3" creationId="{8AE47DB2-6504-D7C4-0373-04F5CE696F9B}"/>
          </ac:spMkLst>
        </pc:spChg>
        <pc:spChg chg="add mod">
          <ac:chgData name="Mazlan, Azimah" userId="a7531543-a4ed-47aa-8443-a6e7cc8df1b5" providerId="ADAL" clId="{24C2857D-7DB2-470F-A8FE-F1747C09925F}" dt="2024-05-23T01:21:58.481" v="5990" actId="1035"/>
          <ac:spMkLst>
            <pc:docMk/>
            <pc:sldMk cId="3913741190" sldId="542"/>
            <ac:spMk id="5" creationId="{95D28CE3-16E2-26D6-03FD-81C65A5A86EB}"/>
          </ac:spMkLst>
        </pc:spChg>
        <pc:graphicFrameChg chg="add mod">
          <ac:chgData name="Mazlan, Azimah" userId="a7531543-a4ed-47aa-8443-a6e7cc8df1b5" providerId="ADAL" clId="{24C2857D-7DB2-470F-A8FE-F1747C09925F}" dt="2024-05-21T04:23:41.547" v="3260"/>
          <ac:graphicFrameMkLst>
            <pc:docMk/>
            <pc:sldMk cId="3913741190" sldId="542"/>
            <ac:graphicFrameMk id="3" creationId="{27101037-0B2E-EF85-687E-D3FE179B19DD}"/>
          </ac:graphicFrameMkLst>
        </pc:graphicFrameChg>
        <pc:graphicFrameChg chg="add mod modGraphic">
          <ac:chgData name="Mazlan, Azimah" userId="a7531543-a4ed-47aa-8443-a6e7cc8df1b5" providerId="ADAL" clId="{24C2857D-7DB2-470F-A8FE-F1747C09925F}" dt="2024-05-23T01:29:37.144" v="6021" actId="20577"/>
          <ac:graphicFrameMkLst>
            <pc:docMk/>
            <pc:sldMk cId="3913741190" sldId="542"/>
            <ac:graphicFrameMk id="4" creationId="{6966E977-76C3-ED72-B318-8E6991731EC4}"/>
          </ac:graphicFrameMkLst>
        </pc:graphicFrameChg>
      </pc:sldChg>
      <pc:sldChg chg="addSp modSp new del mod">
        <pc:chgData name="Mazlan, Azimah" userId="a7531543-a4ed-47aa-8443-a6e7cc8df1b5" providerId="ADAL" clId="{24C2857D-7DB2-470F-A8FE-F1747C09925F}" dt="2024-05-21T07:04:28.101" v="4360" actId="2696"/>
        <pc:sldMkLst>
          <pc:docMk/>
          <pc:sldMk cId="2556539118" sldId="543"/>
        </pc:sldMkLst>
        <pc:graphicFrameChg chg="add mod modGraphic">
          <ac:chgData name="Mazlan, Azimah" userId="a7531543-a4ed-47aa-8443-a6e7cc8df1b5" providerId="ADAL" clId="{24C2857D-7DB2-470F-A8FE-F1747C09925F}" dt="2024-05-21T06:52:44.393" v="4290" actId="14734"/>
          <ac:graphicFrameMkLst>
            <pc:docMk/>
            <pc:sldMk cId="2556539118" sldId="543"/>
            <ac:graphicFrameMk id="3" creationId="{499E5FD1-E9F8-23DF-1B49-B7EA9D25016A}"/>
          </ac:graphicFrameMkLst>
        </pc:graphicFrameChg>
      </pc:sldChg>
      <pc:sldChg chg="addSp modSp new mod">
        <pc:chgData name="Mazlan, Azimah" userId="a7531543-a4ed-47aa-8443-a6e7cc8df1b5" providerId="ADAL" clId="{24C2857D-7DB2-470F-A8FE-F1747C09925F}" dt="2024-05-22T15:32:10.743" v="5108" actId="255"/>
        <pc:sldMkLst>
          <pc:docMk/>
          <pc:sldMk cId="2665382662" sldId="544"/>
        </pc:sldMkLst>
        <pc:spChg chg="mod">
          <ac:chgData name="Mazlan, Azimah" userId="a7531543-a4ed-47aa-8443-a6e7cc8df1b5" providerId="ADAL" clId="{24C2857D-7DB2-470F-A8FE-F1747C09925F}" dt="2024-05-22T15:32:10.743" v="5108" actId="255"/>
          <ac:spMkLst>
            <pc:docMk/>
            <pc:sldMk cId="2665382662" sldId="544"/>
            <ac:spMk id="2" creationId="{730CF184-4BC1-AD1F-AC7C-4680D56D35EF}"/>
          </ac:spMkLst>
        </pc:spChg>
        <pc:graphicFrameChg chg="add mod">
          <ac:chgData name="Mazlan, Azimah" userId="a7531543-a4ed-47aa-8443-a6e7cc8df1b5" providerId="ADAL" clId="{24C2857D-7DB2-470F-A8FE-F1747C09925F}" dt="2024-05-21T06:53:02.778" v="4292"/>
          <ac:graphicFrameMkLst>
            <pc:docMk/>
            <pc:sldMk cId="2665382662" sldId="544"/>
            <ac:graphicFrameMk id="3" creationId="{567BC04F-208A-3D29-82C5-85E88BBFC9CC}"/>
          </ac:graphicFrameMkLst>
        </pc:graphicFrameChg>
        <pc:graphicFrameChg chg="add mod modGraphic">
          <ac:chgData name="Mazlan, Azimah" userId="a7531543-a4ed-47aa-8443-a6e7cc8df1b5" providerId="ADAL" clId="{24C2857D-7DB2-470F-A8FE-F1747C09925F}" dt="2024-05-22T15:30:38.940" v="5045" actId="255"/>
          <ac:graphicFrameMkLst>
            <pc:docMk/>
            <pc:sldMk cId="2665382662" sldId="544"/>
            <ac:graphicFrameMk id="4" creationId="{72A87C87-F35A-1F57-DA48-0502ED507858}"/>
          </ac:graphicFrameMkLst>
        </pc:graphicFrameChg>
      </pc:sldChg>
      <pc:sldChg chg="addSp delSp modSp new mod">
        <pc:chgData name="Mazlan, Azimah" userId="a7531543-a4ed-47aa-8443-a6e7cc8df1b5" providerId="ADAL" clId="{24C2857D-7DB2-470F-A8FE-F1747C09925F}" dt="2024-05-23T01:10:59.763" v="5938"/>
        <pc:sldMkLst>
          <pc:docMk/>
          <pc:sldMk cId="3209411347" sldId="545"/>
        </pc:sldMkLst>
        <pc:spChg chg="mod">
          <ac:chgData name="Mazlan, Azimah" userId="a7531543-a4ed-47aa-8443-a6e7cc8df1b5" providerId="ADAL" clId="{24C2857D-7DB2-470F-A8FE-F1747C09925F}" dt="2024-05-21T08:23:52.729" v="4621" actId="20577"/>
          <ac:spMkLst>
            <pc:docMk/>
            <pc:sldMk cId="3209411347" sldId="545"/>
            <ac:spMk id="2" creationId="{122DD9A8-7C8C-345E-9CB8-E119972D28F5}"/>
          </ac:spMkLst>
        </pc:spChg>
        <pc:spChg chg="add del mod">
          <ac:chgData name="Mazlan, Azimah" userId="a7531543-a4ed-47aa-8443-a6e7cc8df1b5" providerId="ADAL" clId="{24C2857D-7DB2-470F-A8FE-F1747C09925F}" dt="2024-05-23T01:07:22.877" v="5907" actId="478"/>
          <ac:spMkLst>
            <pc:docMk/>
            <pc:sldMk cId="3209411347" sldId="545"/>
            <ac:spMk id="4" creationId="{A2C9F02B-CD51-4E17-5815-FFD6E82FA710}"/>
          </ac:spMkLst>
        </pc:spChg>
        <pc:graphicFrameChg chg="add mod ord modGraphic">
          <ac:chgData name="Mazlan, Azimah" userId="a7531543-a4ed-47aa-8443-a6e7cc8df1b5" providerId="ADAL" clId="{24C2857D-7DB2-470F-A8FE-F1747C09925F}" dt="2024-05-23T01:08:23.676" v="5921" actId="14734"/>
          <ac:graphicFrameMkLst>
            <pc:docMk/>
            <pc:sldMk cId="3209411347" sldId="545"/>
            <ac:graphicFrameMk id="3" creationId="{761F15EB-6FFB-7EA0-B004-245DF7D8733C}"/>
          </ac:graphicFrameMkLst>
        </pc:graphicFrameChg>
        <pc:picChg chg="add mod">
          <ac:chgData name="Mazlan, Azimah" userId="a7531543-a4ed-47aa-8443-a6e7cc8df1b5" providerId="ADAL" clId="{24C2857D-7DB2-470F-A8FE-F1747C09925F}" dt="2024-05-23T01:10:59.763" v="5938"/>
          <ac:picMkLst>
            <pc:docMk/>
            <pc:sldMk cId="3209411347" sldId="545"/>
            <ac:picMk id="5" creationId="{9D038672-1D47-7294-2FA5-9BFDE57D9C4D}"/>
          </ac:picMkLst>
        </pc:picChg>
        <pc:picChg chg="add del mod">
          <ac:chgData name="Mazlan, Azimah" userId="a7531543-a4ed-47aa-8443-a6e7cc8df1b5" providerId="ADAL" clId="{24C2857D-7DB2-470F-A8FE-F1747C09925F}" dt="2024-05-23T01:08:01.758" v="5918" actId="478"/>
          <ac:picMkLst>
            <pc:docMk/>
            <pc:sldMk cId="3209411347" sldId="545"/>
            <ac:picMk id="6" creationId="{37817E1B-A908-601F-6632-9531D030D570}"/>
          </ac:picMkLst>
        </pc:picChg>
        <pc:picChg chg="add mod">
          <ac:chgData name="Mazlan, Azimah" userId="a7531543-a4ed-47aa-8443-a6e7cc8df1b5" providerId="ADAL" clId="{24C2857D-7DB2-470F-A8FE-F1747C09925F}" dt="2024-05-23T01:10:38.798" v="5937" actId="1076"/>
          <ac:picMkLst>
            <pc:docMk/>
            <pc:sldMk cId="3209411347" sldId="545"/>
            <ac:picMk id="4098" creationId="{62A73B48-629A-63AA-B3E8-3CD500D3D9EF}"/>
          </ac:picMkLst>
        </pc:picChg>
      </pc:sldChg>
      <pc:sldChg chg="addSp modSp new mod modShow">
        <pc:chgData name="Mazlan, Azimah" userId="a7531543-a4ed-47aa-8443-a6e7cc8df1b5" providerId="ADAL" clId="{24C2857D-7DB2-470F-A8FE-F1747C09925F}" dt="2024-05-23T01:20:02.747" v="5954" actId="729"/>
        <pc:sldMkLst>
          <pc:docMk/>
          <pc:sldMk cId="4209686847" sldId="546"/>
        </pc:sldMkLst>
        <pc:graphicFrameChg chg="add mod modGraphic">
          <ac:chgData name="Mazlan, Azimah" userId="a7531543-a4ed-47aa-8443-a6e7cc8df1b5" providerId="ADAL" clId="{24C2857D-7DB2-470F-A8FE-F1747C09925F}" dt="2024-05-22T15:39:39.453" v="5253" actId="2711"/>
          <ac:graphicFrameMkLst>
            <pc:docMk/>
            <pc:sldMk cId="4209686847" sldId="546"/>
            <ac:graphicFrameMk id="3" creationId="{91F81463-4601-13F3-CFDB-E778D63EEFFE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B6881-7722-43D7-9859-8F391DF8AE75}" type="datetimeFigureOut">
              <a:rPr lang="en-MY" smtClean="0"/>
              <a:t>23/5/2024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46CFA-8D8E-4525-8645-514B495016E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905796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E2CCAE-DB75-4568-A690-EABF183E1245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7114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24262D-71C9-4C1F-A963-3873788181A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3681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9502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66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2699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1752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046CFA-8D8E-4525-8645-514B495016EF}" type="slidenum">
              <a:rPr lang="en-MY" smtClean="0"/>
              <a:t>21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1247592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1467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1692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27EE751-BFE0-45B2-AB91-8C341F8B2BB0}" type="datetime1">
              <a:rPr lang="en-US" smtClean="0"/>
              <a:t>5/23/2024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647272-D100-47C7-82C2-970D8DF6AA0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McDonald's</a:t>
            </a:r>
            <a:endParaRPr lang="en-US" dirty="0"/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819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910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384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970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8468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78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6846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24262D-71C9-4C1F-A963-3873788181A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3091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24262D-71C9-4C1F-A963-3873788181A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3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404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3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5.sv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5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7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8.sv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0.sv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20.sv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0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576072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576072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45166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303212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E292F22-31D7-43DA-8D74-8B755273876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760" y="777240"/>
            <a:ext cx="4572000" cy="5303520"/>
          </a:xfr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21680" y="228600"/>
            <a:ext cx="603504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2466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91598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E292F22-31D7-43DA-8D74-8B755273876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73240" y="777240"/>
            <a:ext cx="4572000" cy="5303520"/>
          </a:xfr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228600"/>
            <a:ext cx="603504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98792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7AF177E-62C6-42EE-A2C0-777C1AD04EDC}"/>
              </a:ext>
            </a:extLst>
          </p:cNvPr>
          <p:cNvGrpSpPr/>
          <p:nvPr userDrawn="1"/>
        </p:nvGrpSpPr>
        <p:grpSpPr>
          <a:xfrm>
            <a:off x="1" y="667386"/>
            <a:ext cx="6532488" cy="6190614"/>
            <a:chOff x="1" y="667386"/>
            <a:chExt cx="6532488" cy="6190614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223C106-9483-494E-B417-C6D469511E0E}"/>
                </a:ext>
              </a:extLst>
            </p:cNvPr>
            <p:cNvSpPr/>
            <p:nvPr userDrawn="1"/>
          </p:nvSpPr>
          <p:spPr>
            <a:xfrm>
              <a:off x="2558223" y="667386"/>
              <a:ext cx="1849450" cy="6190614"/>
            </a:xfrm>
            <a:custGeom>
              <a:avLst/>
              <a:gdLst>
                <a:gd name="connsiteX0" fmla="*/ 494822 w 1849450"/>
                <a:gd name="connsiteY0" fmla="*/ 0 h 6190614"/>
                <a:gd name="connsiteX1" fmla="*/ 1849450 w 1849450"/>
                <a:gd name="connsiteY1" fmla="*/ 108277 h 6190614"/>
                <a:gd name="connsiteX2" fmla="*/ 1363281 w 1849450"/>
                <a:gd name="connsiteY2" fmla="*/ 6190614 h 6190614"/>
                <a:gd name="connsiteX3" fmla="*/ 0 w 1849450"/>
                <a:gd name="connsiteY3" fmla="*/ 6190614 h 6190614"/>
                <a:gd name="connsiteX4" fmla="*/ 494822 w 1849450"/>
                <a:gd name="connsiteY4" fmla="*/ 0 h 619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9450" h="6190614">
                  <a:moveTo>
                    <a:pt x="494822" y="0"/>
                  </a:moveTo>
                  <a:lnTo>
                    <a:pt x="1849450" y="108277"/>
                  </a:lnTo>
                  <a:lnTo>
                    <a:pt x="1363281" y="6190614"/>
                  </a:lnTo>
                  <a:lnTo>
                    <a:pt x="0" y="6190614"/>
                  </a:lnTo>
                  <a:lnTo>
                    <a:pt x="494822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7C970ED-4F1D-4B79-BA6F-4D048A56ED47}"/>
                </a:ext>
              </a:extLst>
            </p:cNvPr>
            <p:cNvSpPr/>
            <p:nvPr userDrawn="1"/>
          </p:nvSpPr>
          <p:spPr>
            <a:xfrm>
              <a:off x="4502045" y="692238"/>
              <a:ext cx="2030444" cy="6165762"/>
            </a:xfrm>
            <a:custGeom>
              <a:avLst/>
              <a:gdLst>
                <a:gd name="connsiteX0" fmla="*/ 1345359 w 2030444"/>
                <a:gd name="connsiteY0" fmla="*/ 0 h 6165762"/>
                <a:gd name="connsiteX1" fmla="*/ 2030444 w 2030444"/>
                <a:gd name="connsiteY1" fmla="*/ 6165762 h 6165762"/>
                <a:gd name="connsiteX2" fmla="*/ 668477 w 2030444"/>
                <a:gd name="connsiteY2" fmla="*/ 6165762 h 6165762"/>
                <a:gd name="connsiteX3" fmla="*/ 0 w 2030444"/>
                <a:gd name="connsiteY3" fmla="*/ 149484 h 6165762"/>
                <a:gd name="connsiteX4" fmla="*/ 1345359 w 2030444"/>
                <a:gd name="connsiteY4" fmla="*/ 0 h 616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444" h="6165762">
                  <a:moveTo>
                    <a:pt x="1345359" y="0"/>
                  </a:moveTo>
                  <a:lnTo>
                    <a:pt x="2030444" y="6165762"/>
                  </a:lnTo>
                  <a:lnTo>
                    <a:pt x="668477" y="6165762"/>
                  </a:lnTo>
                  <a:lnTo>
                    <a:pt x="0" y="149484"/>
                  </a:lnTo>
                  <a:lnTo>
                    <a:pt x="1345359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A4F293E-5F4D-421E-BA0E-FF487B0C6228}"/>
                </a:ext>
              </a:extLst>
            </p:cNvPr>
            <p:cNvSpPr/>
            <p:nvPr userDrawn="1"/>
          </p:nvSpPr>
          <p:spPr>
            <a:xfrm>
              <a:off x="1025854" y="712296"/>
              <a:ext cx="1387895" cy="6145704"/>
            </a:xfrm>
            <a:custGeom>
              <a:avLst/>
              <a:gdLst>
                <a:gd name="connsiteX0" fmla="*/ 1358933 w 1387895"/>
                <a:gd name="connsiteY0" fmla="*/ 0 h 6145704"/>
                <a:gd name="connsiteX1" fmla="*/ 1387895 w 1387895"/>
                <a:gd name="connsiteY1" fmla="*/ 6145704 h 6145704"/>
                <a:gd name="connsiteX2" fmla="*/ 28932 w 1387895"/>
                <a:gd name="connsiteY2" fmla="*/ 6145704 h 6145704"/>
                <a:gd name="connsiteX3" fmla="*/ 0 w 1387895"/>
                <a:gd name="connsiteY3" fmla="*/ 6404 h 6145704"/>
                <a:gd name="connsiteX4" fmla="*/ 1358933 w 1387895"/>
                <a:gd name="connsiteY4" fmla="*/ 0 h 6145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7895" h="6145704">
                  <a:moveTo>
                    <a:pt x="1358933" y="0"/>
                  </a:moveTo>
                  <a:lnTo>
                    <a:pt x="1387895" y="6145704"/>
                  </a:lnTo>
                  <a:lnTo>
                    <a:pt x="28932" y="6145704"/>
                  </a:lnTo>
                  <a:lnTo>
                    <a:pt x="0" y="6404"/>
                  </a:lnTo>
                  <a:lnTo>
                    <a:pt x="1358933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41F0D19-D2B9-4F58-B736-D0360CDE6ECF}"/>
                </a:ext>
              </a:extLst>
            </p:cNvPr>
            <p:cNvSpPr/>
            <p:nvPr userDrawn="1"/>
          </p:nvSpPr>
          <p:spPr>
            <a:xfrm>
              <a:off x="1" y="722994"/>
              <a:ext cx="730645" cy="6135006"/>
            </a:xfrm>
            <a:custGeom>
              <a:avLst/>
              <a:gdLst>
                <a:gd name="connsiteX0" fmla="*/ 0 w 730645"/>
                <a:gd name="connsiteY0" fmla="*/ 0 h 6135006"/>
                <a:gd name="connsiteX1" fmla="*/ 730645 w 730645"/>
                <a:gd name="connsiteY1" fmla="*/ 30623 h 6135006"/>
                <a:gd name="connsiteX2" fmla="*/ 474795 w 730645"/>
                <a:gd name="connsiteY2" fmla="*/ 6135006 h 6135006"/>
                <a:gd name="connsiteX3" fmla="*/ 0 w 730645"/>
                <a:gd name="connsiteY3" fmla="*/ 6135006 h 6135006"/>
                <a:gd name="connsiteX4" fmla="*/ 0 w 730645"/>
                <a:gd name="connsiteY4" fmla="*/ 0 h 61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645" h="6135006">
                  <a:moveTo>
                    <a:pt x="0" y="0"/>
                  </a:moveTo>
                  <a:lnTo>
                    <a:pt x="730645" y="30623"/>
                  </a:lnTo>
                  <a:lnTo>
                    <a:pt x="474795" y="6135006"/>
                  </a:lnTo>
                  <a:lnTo>
                    <a:pt x="0" y="6135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61760" y="228600"/>
            <a:ext cx="539496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15980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D96E502C-129E-424D-87C8-23B783B1E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952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tIns="1554480"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11522074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18647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228600"/>
            <a:ext cx="10789920" cy="2560319"/>
          </a:xfrm>
        </p:spPr>
        <p:txBody>
          <a:bodyPr anchor="b" anchorCtr="0"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800" y="3611880"/>
            <a:ext cx="10789920" cy="2652395"/>
          </a:xfrm>
        </p:spPr>
        <p:txBody>
          <a:bodyPr/>
          <a:lstStyle>
            <a:lvl1pPr marL="0" indent="0">
              <a:buNone/>
              <a:defRPr/>
            </a:lvl1pPr>
            <a:lvl2pPr marL="515938" indent="-231775">
              <a:buFont typeface="Symbol" panose="05050102010706020507" pitchFamily="18" charset="2"/>
              <a:buChar char="·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5221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F5A223-433E-4FAB-9D8A-E7E3D6CF1B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58640" y="228600"/>
            <a:ext cx="7498398" cy="6400800"/>
          </a:xfrm>
        </p:spPr>
        <p:txBody>
          <a:bodyPr anchor="ctr" anchorCtr="0"/>
          <a:lstStyle>
            <a:lvl1pPr marL="0" indent="0">
              <a:spcBef>
                <a:spcPts val="1400"/>
              </a:spcBef>
              <a:buNone/>
              <a:defRPr sz="4000" b="1"/>
            </a:lvl1pPr>
            <a:lvl2pPr marL="515938" indent="-231775">
              <a:buFont typeface="Arial" panose="020B0604020202020204" pitchFamily="34" charset="0"/>
              <a:buChar char="•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genda Item 1</a:t>
            </a:r>
          </a:p>
          <a:p>
            <a:pPr lvl="0"/>
            <a:r>
              <a:rPr lang="en-US" dirty="0"/>
              <a:t>Agenda Item 2</a:t>
            </a:r>
          </a:p>
          <a:p>
            <a:pPr lvl="0"/>
            <a:r>
              <a:rPr lang="en-US" dirty="0"/>
              <a:t>Agenda Item 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4003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95662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11522075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7320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2 column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11522075" cy="5121275"/>
          </a:xfrm>
        </p:spPr>
        <p:txBody>
          <a:bodyPr numCol="2" spcCol="45720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63065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 w/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35A23D-E666-4E0C-9980-F206C8FA51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2880 w 12192000"/>
              <a:gd name="connsiteY0" fmla="*/ 182880 h 6858000"/>
              <a:gd name="connsiteX1" fmla="*/ 182880 w 12192000"/>
              <a:gd name="connsiteY1" fmla="*/ 6675120 h 6858000"/>
              <a:gd name="connsiteX2" fmla="*/ 12009120 w 12192000"/>
              <a:gd name="connsiteY2" fmla="*/ 6675120 h 6858000"/>
              <a:gd name="connsiteX3" fmla="*/ 12009120 w 12192000"/>
              <a:gd name="connsiteY3" fmla="*/ 182880 h 6858000"/>
              <a:gd name="connsiteX4" fmla="*/ 1200912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12188952 w 12192000"/>
              <a:gd name="connsiteY7" fmla="*/ 6858000 h 6858000"/>
              <a:gd name="connsiteX8" fmla="*/ 12009120 w 12192000"/>
              <a:gd name="connsiteY8" fmla="*/ 6858000 h 6858000"/>
              <a:gd name="connsiteX9" fmla="*/ 182880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6858000 h 6858000"/>
              <a:gd name="connsiteX12" fmla="*/ 0 w 12192000"/>
              <a:gd name="connsiteY12" fmla="*/ 0 h 6858000"/>
              <a:gd name="connsiteX13" fmla="*/ 182880 w 12192000"/>
              <a:gd name="connsiteY13" fmla="*/ 0 h 6858000"/>
              <a:gd name="connsiteX14" fmla="*/ 182880 w 12192000"/>
              <a:gd name="connsiteY14" fmla="*/ 0 h 6858000"/>
              <a:gd name="connsiteX15" fmla="*/ 12009120 w 12192000"/>
              <a:gd name="connsiteY1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182880" y="182880"/>
                </a:moveTo>
                <a:lnTo>
                  <a:pt x="182880" y="6675120"/>
                </a:lnTo>
                <a:lnTo>
                  <a:pt x="12009120" y="6675120"/>
                </a:lnTo>
                <a:lnTo>
                  <a:pt x="12009120" y="182880"/>
                </a:lnTo>
                <a:close/>
                <a:moveTo>
                  <a:pt x="1200912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952" y="6858000"/>
                </a:lnTo>
                <a:lnTo>
                  <a:pt x="12009120" y="6858000"/>
                </a:lnTo>
                <a:lnTo>
                  <a:pt x="182880" y="6858000"/>
                </a:lnTo>
                <a:lnTo>
                  <a:pt x="1" y="6858000"/>
                </a:lnTo>
                <a:lnTo>
                  <a:pt x="0" y="6858000"/>
                </a:lnTo>
                <a:lnTo>
                  <a:pt x="0" y="0"/>
                </a:lnTo>
                <a:lnTo>
                  <a:pt x="182880" y="0"/>
                </a:lnTo>
                <a:lnTo>
                  <a:pt x="182880" y="0"/>
                </a:lnTo>
                <a:lnTo>
                  <a:pt x="12009120" y="0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334963" y="1143000"/>
            <a:ext cx="11522075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22622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rch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-2" r="34319" b="11162"/>
          <a:stretch/>
        </p:blipFill>
        <p:spPr>
          <a:xfrm>
            <a:off x="6096000" y="274320"/>
            <a:ext cx="6096000" cy="6583680"/>
          </a:xfrm>
          <a:prstGeom prst="rect">
            <a:avLst/>
          </a:prstGeom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576072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576072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453565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Gray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97DE0F-8E09-4A9E-B147-4CAA37FBF620}"/>
              </a:ext>
            </a:extLst>
          </p:cNvPr>
          <p:cNvSpPr/>
          <p:nvPr userDrawn="1"/>
        </p:nvSpPr>
        <p:spPr>
          <a:xfrm>
            <a:off x="0" y="0"/>
            <a:ext cx="405993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347472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E7C49-08F2-4F4B-9DC7-9D046A4F1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3474720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74C75D69-D919-4F63-92AB-E1B7678E0300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05653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347472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E7C49-08F2-4F4B-9DC7-9D046A4F1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3474720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BC9F09F6-C303-4330-83E4-FC5BAC60B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59936" y="0"/>
            <a:ext cx="8132064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24777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1472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Halfsie Arr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ecorative Arrow">
            <a:extLst>
              <a:ext uri="{FF2B5EF4-FFF2-40B4-BE49-F238E27FC236}">
                <a16:creationId xmlns:a16="http://schemas.microsoft.com/office/drawing/2014/main" id="{1404ED11-1EAF-4297-8BB5-17771BD4D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6309360" cy="6858000"/>
          </a:xfrm>
          <a:prstGeom prst="rightArrow">
            <a:avLst>
              <a:gd name="adj1" fmla="val 100000"/>
              <a:gd name="adj2" fmla="val 8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D107638-A9E9-4334-BA70-4B3D4D4EB23B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92582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Halfs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ecorative Arrow">
            <a:extLst>
              <a:ext uri="{FF2B5EF4-FFF2-40B4-BE49-F238E27FC236}">
                <a16:creationId xmlns:a16="http://schemas.microsoft.com/office/drawing/2014/main" id="{1404ED11-1EAF-4297-8BB5-17771BD4D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D107638-A9E9-4334-BA70-4B3D4D4EB23B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82716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old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ld Bar">
            <a:extLst>
              <a:ext uri="{FF2B5EF4-FFF2-40B4-BE49-F238E27FC236}">
                <a16:creationId xmlns:a16="http://schemas.microsoft.com/office/drawing/2014/main" id="{50FE6178-DC88-4788-BDB0-7B856173CEDC}"/>
              </a:ext>
            </a:extLst>
          </p:cNvPr>
          <p:cNvSpPr/>
          <p:nvPr userDrawn="1"/>
        </p:nvSpPr>
        <p:spPr>
          <a:xfrm>
            <a:off x="0" y="0"/>
            <a:ext cx="12192000" cy="10972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0771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sie w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5394960" cy="6400800"/>
          </a:xfrm>
        </p:spPr>
        <p:txBody>
          <a:bodyPr lIns="182880" rIns="182880" bIns="91440" anchor="ctr" anchorCtr="1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Halfsie</a:t>
            </a:r>
            <a:r>
              <a:rPr lang="en-US" dirty="0"/>
              <a:t>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414CCD-68CA-4052-8276-22F4D39C05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1760" y="228600"/>
            <a:ext cx="5394960" cy="6400800"/>
          </a:xfrm>
        </p:spPr>
        <p:txBody>
          <a:bodyPr anchor="ctr" anchorCtr="1"/>
          <a:lstStyle>
            <a:lvl1pPr>
              <a:spcBef>
                <a:spcPts val="24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41537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sie w/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5394960" cy="6400800"/>
          </a:xfrm>
        </p:spPr>
        <p:txBody>
          <a:bodyPr lIns="457200" rIns="457200" bIns="91440" anchor="ctr" anchorCtr="1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Halfsie</a:t>
            </a:r>
            <a:r>
              <a:rPr lang="en-US" dirty="0"/>
              <a:t> Slide</a:t>
            </a:r>
          </a:p>
        </p:txBody>
      </p:sp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2952" y="0"/>
            <a:ext cx="6099048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38962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6800" y="594360"/>
            <a:ext cx="10058400" cy="5669280"/>
          </a:xfrm>
        </p:spPr>
        <p:txBody>
          <a:bodyPr lIns="91440" rIns="91440" bIns="91440" anchor="ctr" anchorCtr="0">
            <a:noAutofit/>
          </a:bodyPr>
          <a:lstStyle>
            <a:lvl1pPr algn="ctr">
              <a:lnSpc>
                <a:spcPct val="9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Quote Slid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B2D9B87-6A8D-4859-925B-5494D8AC40D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2880 w 12192000"/>
              <a:gd name="connsiteY0" fmla="*/ 182880 h 6858000"/>
              <a:gd name="connsiteX1" fmla="*/ 182880 w 12192000"/>
              <a:gd name="connsiteY1" fmla="*/ 6675120 h 6858000"/>
              <a:gd name="connsiteX2" fmla="*/ 12009120 w 12192000"/>
              <a:gd name="connsiteY2" fmla="*/ 6675120 h 6858000"/>
              <a:gd name="connsiteX3" fmla="*/ 12009120 w 12192000"/>
              <a:gd name="connsiteY3" fmla="*/ 182880 h 6858000"/>
              <a:gd name="connsiteX4" fmla="*/ 1200912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12188952 w 12192000"/>
              <a:gd name="connsiteY7" fmla="*/ 6858000 h 6858000"/>
              <a:gd name="connsiteX8" fmla="*/ 12009120 w 12192000"/>
              <a:gd name="connsiteY8" fmla="*/ 6858000 h 6858000"/>
              <a:gd name="connsiteX9" fmla="*/ 182880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6858000 h 6858000"/>
              <a:gd name="connsiteX12" fmla="*/ 0 w 12192000"/>
              <a:gd name="connsiteY12" fmla="*/ 0 h 6858000"/>
              <a:gd name="connsiteX13" fmla="*/ 182880 w 12192000"/>
              <a:gd name="connsiteY13" fmla="*/ 0 h 6858000"/>
              <a:gd name="connsiteX14" fmla="*/ 182880 w 12192000"/>
              <a:gd name="connsiteY14" fmla="*/ 0 h 6858000"/>
              <a:gd name="connsiteX15" fmla="*/ 12009120 w 12192000"/>
              <a:gd name="connsiteY1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182880" y="182880"/>
                </a:moveTo>
                <a:lnTo>
                  <a:pt x="182880" y="6675120"/>
                </a:lnTo>
                <a:lnTo>
                  <a:pt x="12009120" y="6675120"/>
                </a:lnTo>
                <a:lnTo>
                  <a:pt x="12009120" y="182880"/>
                </a:lnTo>
                <a:close/>
                <a:moveTo>
                  <a:pt x="1200912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952" y="6858000"/>
                </a:lnTo>
                <a:lnTo>
                  <a:pt x="12009120" y="6858000"/>
                </a:lnTo>
                <a:lnTo>
                  <a:pt x="182880" y="6858000"/>
                </a:lnTo>
                <a:lnTo>
                  <a:pt x="1" y="6858000"/>
                </a:lnTo>
                <a:lnTo>
                  <a:pt x="0" y="6858000"/>
                </a:lnTo>
                <a:lnTo>
                  <a:pt x="0" y="0"/>
                </a:lnTo>
                <a:lnTo>
                  <a:pt x="182880" y="0"/>
                </a:lnTo>
                <a:lnTo>
                  <a:pt x="182880" y="0"/>
                </a:lnTo>
                <a:lnTo>
                  <a:pt x="12009120" y="0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57640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8029730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F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Fries">
            <a:extLst>
              <a:ext uri="{FF2B5EF4-FFF2-40B4-BE49-F238E27FC236}">
                <a16:creationId xmlns:a16="http://schemas.microsoft.com/office/drawing/2014/main" id="{37FC8A42-29F1-429E-AD3F-2C9568973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1522" b="29500"/>
          <a:stretch/>
        </p:blipFill>
        <p:spPr>
          <a:xfrm>
            <a:off x="7970521" y="411480"/>
            <a:ext cx="4221480" cy="6446520"/>
          </a:xfrm>
          <a:prstGeom prst="rect">
            <a:avLst/>
          </a:prstGeom>
        </p:spPr>
      </p:pic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381000" y="32004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8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749808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749808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618077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3AF01502-766D-4FD3-83B3-C3E989F234B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437638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CFB9CD3-4D23-4FBF-935D-DE38A97367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875276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8DE0167-0B73-4177-8A6A-CAF969065B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12914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1B301C60-01B3-4286-BB15-50546FB0D97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50552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D83A722-9643-45ED-9575-43427A35AF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09D99A6E-6DC8-4957-95E5-F027C381B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437638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42575524-686F-4AC3-9FB3-46540407B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75276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29AD3DF0-D818-4B10-8B0D-81E4B467D62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312914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DDB78F27-A8F5-4AC2-B9E1-72DEC377A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50552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2892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993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3AF01502-766D-4FD3-83B3-C3E989F234B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66032" y="0"/>
            <a:ext cx="405993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CFB9CD3-4D23-4FBF-935D-DE38A97367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32064" y="0"/>
            <a:ext cx="405993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D83A722-9643-45ED-9575-43427A35AF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108960"/>
            <a:ext cx="405993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09D99A6E-6DC8-4957-95E5-F027C381B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6032" y="3108960"/>
            <a:ext cx="405993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42575524-686F-4AC3-9FB3-46540407B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32064" y="3108960"/>
            <a:ext cx="405993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6597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263640"/>
          </a:xfrm>
          <a:solidFill>
            <a:schemeClr val="bg1">
              <a:lumMod val="85000"/>
            </a:schemeClr>
          </a:solidFill>
          <a:ln w="381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52088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ch">
            <a:extLst>
              <a:ext uri="{FF2B5EF4-FFF2-40B4-BE49-F238E27FC236}">
                <a16:creationId xmlns:a16="http://schemas.microsoft.com/office/drawing/2014/main" id="{DB7569CE-CCCE-49E0-A326-5FB24671C246}"/>
              </a:ext>
            </a:extLst>
          </p:cNvPr>
          <p:cNvSpPr>
            <a:spLocks noChangeAspect="1"/>
          </p:cNvSpPr>
          <p:nvPr userDrawn="1"/>
        </p:nvSpPr>
        <p:spPr>
          <a:xfrm>
            <a:off x="5103271" y="2148840"/>
            <a:ext cx="1985459" cy="173736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8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43434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solidFill>
                  <a:schemeClr val="tx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228696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ile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718561" y="1894403"/>
            <a:ext cx="4747264" cy="2059550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43434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87266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2" y="1600200"/>
            <a:ext cx="11522076" cy="1828800"/>
          </a:xfrm>
        </p:spPr>
        <p:txBody>
          <a:bodyPr lIns="91440" rIns="91440" anchor="b">
            <a:noAutofit/>
          </a:bodyPr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7063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548640"/>
            <a:ext cx="5486400" cy="2194560"/>
          </a:xfrm>
        </p:spPr>
        <p:txBody>
          <a:bodyPr anchor="b"/>
          <a:lstStyle>
            <a:lvl1pPr algn="l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2743200"/>
            <a:ext cx="5486400" cy="2194560"/>
          </a:xfrm>
        </p:spPr>
        <p:txBody>
          <a:bodyPr tIns="182880" bIns="182880" anchor="t" anchorCtr="0"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33724" b="16368"/>
          <a:stretch/>
        </p:blipFill>
        <p:spPr>
          <a:xfrm>
            <a:off x="5932279" y="550900"/>
            <a:ext cx="6259721" cy="6307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7482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11480"/>
            <a:ext cx="5486400" cy="2194560"/>
          </a:xfrm>
        </p:spPr>
        <p:txBody>
          <a:bodyPr anchor="b"/>
          <a:lstStyle>
            <a:lvl1pPr algn="l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2926080"/>
            <a:ext cx="5486400" cy="2194560"/>
          </a:xfrm>
        </p:spPr>
        <p:txBody>
          <a:bodyPr tIns="182880" bIns="182880" anchor="t" anchorCtr="0"/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33724" b="16368"/>
          <a:stretch/>
        </p:blipFill>
        <p:spPr>
          <a:xfrm flipH="1">
            <a:off x="0" y="550900"/>
            <a:ext cx="6259721" cy="63071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590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9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FD76C8F-5F3B-472D-8BFE-6F1AB1D88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680" y="0"/>
            <a:ext cx="78029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2520" y="1234440"/>
            <a:ext cx="9966960" cy="2194560"/>
          </a:xfrm>
        </p:spPr>
        <p:txBody>
          <a:bodyPr anchor="b"/>
          <a:lstStyle>
            <a:lvl1pPr algn="ctr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2520" y="3429000"/>
            <a:ext cx="9966960" cy="2194560"/>
          </a:xfrm>
        </p:spPr>
        <p:txBody>
          <a:bodyPr tIns="182880" bIns="182880" anchor="t" anchorCtr="0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592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9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 Full: Title &amp;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12A190B-7994-4FAD-847F-FB33770A89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tIns="274320" anchor="t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28600"/>
            <a:ext cx="5486400" cy="3200400"/>
          </a:xfrm>
        </p:spPr>
        <p:txBody>
          <a:bodyPr anchor="b" anchorCtr="0"/>
          <a:lstStyle>
            <a:lvl1pPr algn="l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F34E61E-0508-4B17-88C4-705CC5E111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3429000"/>
            <a:ext cx="5486400" cy="3200400"/>
          </a:xfrm>
        </p:spPr>
        <p:txBody>
          <a:bodyPr tIns="182880" bIns="182880" anchor="t" anchorCtr="0"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E771104-31EB-439C-BDF2-50E7F77D4D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>
                <a:solidFill>
                  <a:schemeClr val="bg1"/>
                </a:solidFill>
              </a:defRPr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492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Big M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5029200"/>
            <a:ext cx="12188952" cy="1828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5" name="Big Mac">
            <a:extLst>
              <a:ext uri="{FF2B5EF4-FFF2-40B4-BE49-F238E27FC236}">
                <a16:creationId xmlns:a16="http://schemas.microsoft.com/office/drawing/2014/main" id="{C008B3CA-55B9-44B7-B746-5CDED560DE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6819" r="55277" b="7954"/>
          <a:stretch/>
        </p:blipFill>
        <p:spPr>
          <a:xfrm>
            <a:off x="8016240" y="0"/>
            <a:ext cx="4175760" cy="6858000"/>
          </a:xfrm>
          <a:prstGeom prst="rect">
            <a:avLst/>
          </a:prstGeom>
        </p:spPr>
      </p:pic>
      <p:sp>
        <p:nvSpPr>
          <p:cNvPr id="8" name="Arch">
            <a:extLst>
              <a:ext uri="{FF2B5EF4-FFF2-40B4-BE49-F238E27FC236}">
                <a16:creationId xmlns:a16="http://schemas.microsoft.com/office/drawing/2014/main" id="{BF030D43-5F75-4F09-A115-9C3F3BA5ADF0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2004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749808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749808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775945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 Full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12A190B-7994-4FAD-847F-FB33770A89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tIns="274320" anchor="t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28600"/>
            <a:ext cx="5486400" cy="6400800"/>
          </a:xfrm>
        </p:spPr>
        <p:txBody>
          <a:bodyPr anchor="ctr" anchorCtr="0"/>
          <a:lstStyle>
            <a:lvl1pPr algn="l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AF37600-121E-4196-95A7-94C905A6D6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>
                <a:solidFill>
                  <a:schemeClr val="bg1"/>
                </a:solidFill>
              </a:defRPr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399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 Full: Title &amp; 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12A190B-7994-4FAD-847F-FB33770A89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tIns="274320" anchor="t" anchorCtr="0"/>
          <a:lstStyle>
            <a:lvl1pPr marL="0" indent="0" algn="ctr">
              <a:buNone/>
              <a:defRPr sz="18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28600"/>
            <a:ext cx="5486400" cy="6400800"/>
          </a:xfrm>
        </p:spPr>
        <p:txBody>
          <a:bodyPr anchor="ctr" anchorCtr="0"/>
          <a:lstStyle>
            <a:lvl1pPr algn="l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DD325E8-6F40-4BF0-8ABB-F80F06CFC6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4" y="228600"/>
            <a:ext cx="5761036" cy="457200"/>
          </a:xfrm>
        </p:spPr>
        <p:txBody>
          <a:bodyPr anchor="t" anchorCtr="0"/>
          <a:lstStyle>
            <a:lvl1pPr marL="0" indent="0" algn="l">
              <a:buFont typeface="Arial" panose="020B0604020202020204" pitchFamily="34" charset="0"/>
              <a:buNone/>
              <a:defRPr sz="2400" b="1">
                <a:solidFill>
                  <a:schemeClr val="accent2"/>
                </a:solidFill>
              </a:defRPr>
            </a:lvl1pPr>
            <a:lvl2pPr marL="346075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D9CBD7D9-BDEF-45C2-85DD-B320DB52D3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>
                <a:solidFill>
                  <a:schemeClr val="bg1"/>
                </a:solidFill>
              </a:defRPr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27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8EC0ED-BB8D-4101-BC74-E297AC47251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235075"/>
            <a:ext cx="11522075" cy="512064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D2486-EC9D-40B0-BF28-B91E6BBE6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850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F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228600"/>
            <a:ext cx="1079023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8EC0ED-BB8D-4101-BC74-E297AC47251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66800" y="1235075"/>
            <a:ext cx="10790238" cy="5120640"/>
          </a:xfrm>
        </p:spPr>
        <p:txBody>
          <a:bodyPr/>
          <a:lstStyle>
            <a:lvl1pPr marL="287338" indent="-287338">
              <a:buClr>
                <a:schemeClr val="accent1"/>
              </a:buClr>
              <a:buFont typeface="Calibri" panose="020F0502020204030204" pitchFamily="34" charset="0"/>
              <a:buChar char="•"/>
              <a:defRPr/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EE54807-9987-4B91-AA95-84CB3BDFF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ACE384-61D6-4C76-BF26-1B7E76CFC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680" y="0"/>
            <a:ext cx="78029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358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22A316C-52CF-4124-82E7-165BEA628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417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A42C494B-DF44-460D-96AA-D8FE036ED6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4381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/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52F952F-58F1-437C-A695-90CD54681DB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6B44266-E799-43A5-AEE2-FD690652E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971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BDD0D00B-05F5-4C2B-9321-091C04C267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133668" y="5757048"/>
            <a:ext cx="3090672" cy="27432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4C58F74-946F-46D3-A965-FD956A9F1015}"/>
              </a:ext>
            </a:extLst>
          </p:cNvPr>
          <p:cNvSpPr/>
          <p:nvPr userDrawn="1"/>
        </p:nvSpPr>
        <p:spPr>
          <a:xfrm>
            <a:off x="0" y="0"/>
            <a:ext cx="12192000" cy="5760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28600"/>
            <a:ext cx="11522076" cy="5486400"/>
          </a:xfrm>
        </p:spPr>
        <p:txBody>
          <a:bodyPr anchor="ctr" anchorCtr="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1B20ABE-8968-4BCD-BA52-34D8C9D91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690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BE66D7C-B51F-43E3-867E-954ED1DFBB97}"/>
              </a:ext>
            </a:extLst>
          </p:cNvPr>
          <p:cNvSpPr/>
          <p:nvPr userDrawn="1"/>
        </p:nvSpPr>
        <p:spPr>
          <a:xfrm>
            <a:off x="0" y="22860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0E1EB87-7AB9-46C0-97D6-AA8F054961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9796272" y="502920"/>
            <a:ext cx="2060448" cy="1828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951480"/>
            <a:ext cx="11522076" cy="955040"/>
          </a:xfrm>
        </p:spPr>
        <p:txBody>
          <a:bodyPr bIns="45720" anchor="ctr" anchorCtr="0"/>
          <a:lstStyle>
            <a:lvl1pPr algn="ct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AC9EDBA-0363-47B9-818B-5FF5F8F26F6C}"/>
              </a:ext>
            </a:extLst>
          </p:cNvPr>
          <p:cNvSpPr/>
          <p:nvPr userDrawn="1"/>
        </p:nvSpPr>
        <p:spPr>
          <a:xfrm>
            <a:off x="0" y="90932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E24438C-62BA-42BB-96F7-2057489C1579}"/>
              </a:ext>
            </a:extLst>
          </p:cNvPr>
          <p:cNvSpPr/>
          <p:nvPr userDrawn="1"/>
        </p:nvSpPr>
        <p:spPr>
          <a:xfrm>
            <a:off x="0" y="159004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21EF1EF-E0E6-4F8B-A841-FC09B1877988}"/>
              </a:ext>
            </a:extLst>
          </p:cNvPr>
          <p:cNvSpPr/>
          <p:nvPr userDrawn="1"/>
        </p:nvSpPr>
        <p:spPr>
          <a:xfrm>
            <a:off x="0" y="431292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18FD7916-3947-4B67-9AD6-B4407B427F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2440" y="5257800"/>
            <a:ext cx="2060448" cy="18288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AB1E873-E046-490C-8D96-66E463AFB3F9}"/>
              </a:ext>
            </a:extLst>
          </p:cNvPr>
          <p:cNvSpPr/>
          <p:nvPr userDrawn="1"/>
        </p:nvSpPr>
        <p:spPr>
          <a:xfrm>
            <a:off x="0" y="499364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0A2DD17-028B-40F8-A127-C30F5C2A719F}"/>
              </a:ext>
            </a:extLst>
          </p:cNvPr>
          <p:cNvSpPr/>
          <p:nvPr userDrawn="1"/>
        </p:nvSpPr>
        <p:spPr>
          <a:xfrm>
            <a:off x="0" y="567436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0C545F-25DA-4F89-A463-FBC9FC750DD7}"/>
              </a:ext>
            </a:extLst>
          </p:cNvPr>
          <p:cNvSpPr/>
          <p:nvPr userDrawn="1"/>
        </p:nvSpPr>
        <p:spPr>
          <a:xfrm>
            <a:off x="0" y="635508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DEEEB4D2-9E08-4F4D-A608-AFA9AA2331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>
                <a:solidFill>
                  <a:schemeClr val="bg1"/>
                </a:solidFill>
              </a:defRPr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7EE168-A99C-4B7F-9603-A55A532ED480}"/>
              </a:ext>
            </a:extLst>
          </p:cNvPr>
          <p:cNvSpPr/>
          <p:nvPr userDrawn="1"/>
        </p:nvSpPr>
        <p:spPr>
          <a:xfrm>
            <a:off x="0" y="227076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A4FBCD2-9293-4AD1-9AE7-FE1217214198}"/>
              </a:ext>
            </a:extLst>
          </p:cNvPr>
          <p:cNvSpPr/>
          <p:nvPr userDrawn="1"/>
        </p:nvSpPr>
        <p:spPr>
          <a:xfrm>
            <a:off x="0" y="295148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2044F49-FEBB-4CA2-84AB-55968016B0E7}"/>
              </a:ext>
            </a:extLst>
          </p:cNvPr>
          <p:cNvSpPr/>
          <p:nvPr userDrawn="1"/>
        </p:nvSpPr>
        <p:spPr>
          <a:xfrm>
            <a:off x="0" y="3632200"/>
            <a:ext cx="12192000" cy="27432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18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566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59C9FB6-4D52-4E0A-B2EE-0F60917405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4475" y="228600"/>
            <a:ext cx="11703050" cy="3200400"/>
          </a:xfrm>
          <a:prstGeom prst="rect">
            <a:avLst/>
          </a:prstGeom>
          <a:solidFill>
            <a:schemeClr val="accent5"/>
          </a:solidFill>
          <a:ln w="38100">
            <a:noFill/>
            <a:miter lim="800000"/>
          </a:ln>
        </p:spPr>
        <p:txBody>
          <a:bodyPr vert="horz" lIns="137160" tIns="274320" rIns="137160" bIns="274320" rtlCol="0" anchor="t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dirty="0">
                <a:solidFill>
                  <a:schemeClr val="accent4"/>
                </a:solidFill>
              </a:defRPr>
            </a:lvl1pPr>
          </a:lstStyle>
          <a:p>
            <a:pPr marL="287338" lvl="0" indent="-287338"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429000"/>
            <a:ext cx="11522076" cy="3200400"/>
          </a:xfrm>
        </p:spPr>
        <p:txBody>
          <a:bodyPr bIns="182880" anchor="ctr" anchorCtr="0"/>
          <a:lstStyle>
            <a:lvl1pPr algn="ctr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13D228D-0626-43F9-9135-C1C973E566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35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>
          <p15:clr>
            <a:srgbClr val="FBAE40"/>
          </p15:clr>
        </p15:guide>
        <p15:guide id="2" pos="752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hee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11079480" y="562356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cheese drip">
            <a:extLst>
              <a:ext uri="{FF2B5EF4-FFF2-40B4-BE49-F238E27FC236}">
                <a16:creationId xmlns:a16="http://schemas.microsoft.com/office/drawing/2014/main" id="{7285C890-039C-4F51-A12E-E9D769E45F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38524" y="5029200"/>
            <a:ext cx="2207172" cy="365760"/>
          </a:xfrm>
          <a:prstGeom prst="rect">
            <a:avLst/>
          </a:prstGeom>
        </p:spPr>
      </p:pic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0"/>
            <a:ext cx="12188952" cy="502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1152144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1152144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233315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988FE8-7BCE-4DCC-AD06-6E2476D85CA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4963" y="822960"/>
            <a:ext cx="11522075" cy="246888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619EF9F-04C4-4183-A031-6D7866509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228600"/>
            <a:ext cx="11522075" cy="457200"/>
          </a:xfrm>
        </p:spPr>
        <p:txBody>
          <a:bodyPr anchor="t" anchorCtr="0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9F538E8-723E-41BE-93B6-5B9E3CDA9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58343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28600"/>
            <a:ext cx="11522076" cy="3017520"/>
          </a:xfrm>
        </p:spPr>
        <p:txBody>
          <a:bodyPr anchor="b"/>
          <a:lstStyle>
            <a:lvl1pPr algn="ctr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3200400"/>
          </a:xfrm>
        </p:spPr>
        <p:txBody>
          <a:bodyPr anchor="t" anchorCtr="0"/>
          <a:lstStyle>
            <a:lvl1pPr marL="0" indent="0" algn="ctr"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768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15" y="127057"/>
            <a:ext cx="9220172" cy="6006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5440085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819" y="381000"/>
            <a:ext cx="11140831" cy="552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817" y="1219200"/>
            <a:ext cx="547663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7018" y="1219200"/>
            <a:ext cx="547663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181568159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3512861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708150"/>
            <a:ext cx="11466873" cy="4018118"/>
          </a:xfrm>
        </p:spPr>
        <p:txBody>
          <a:bodyPr>
            <a:noAutofit/>
          </a:bodyPr>
          <a:lstStyle>
            <a:lvl1pPr>
              <a:spcBef>
                <a:spcPts val="383"/>
              </a:spcBef>
              <a:defRPr sz="894" b="0">
                <a:solidFill>
                  <a:schemeClr val="tx1"/>
                </a:solidFill>
              </a:defRPr>
            </a:lvl1pPr>
            <a:lvl2pPr>
              <a:spcBef>
                <a:spcPts val="383"/>
              </a:spcBef>
              <a:defRPr sz="894">
                <a:solidFill>
                  <a:schemeClr val="tx1"/>
                </a:solidFill>
              </a:defRPr>
            </a:lvl2pPr>
            <a:lvl3pPr>
              <a:spcBef>
                <a:spcPts val="383"/>
              </a:spcBef>
              <a:defRPr sz="894">
                <a:solidFill>
                  <a:schemeClr val="tx1"/>
                </a:solidFill>
              </a:defRPr>
            </a:lvl3pPr>
            <a:lvl4pPr>
              <a:spcBef>
                <a:spcPts val="383"/>
              </a:spcBef>
              <a:defRPr sz="894">
                <a:solidFill>
                  <a:schemeClr val="tx1"/>
                </a:solidFill>
              </a:defRPr>
            </a:lvl4pPr>
            <a:lvl5pPr>
              <a:spcBef>
                <a:spcPts val="383"/>
              </a:spcBef>
              <a:defRPr sz="894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27489" y="6443520"/>
            <a:ext cx="99386" cy="98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39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000000"/>
                </a:solidFill>
                <a:latin typeface="Arial"/>
                <a:cs typeface="Arial"/>
              </a:rPr>
              <a:pPr/>
              <a:t>‹#›</a:t>
            </a:fld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9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383"/>
              </a:spcBef>
              <a:defRPr sz="51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211656"/>
            <a:ext cx="11466875" cy="9075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5918372"/>
            <a:ext cx="11477330" cy="189479"/>
          </a:xfrm>
        </p:spPr>
        <p:txBody>
          <a:bodyPr anchor="ctr">
            <a:noAutofit/>
          </a:bodyPr>
          <a:lstStyle>
            <a:lvl1pPr marL="0" marR="0" indent="0" algn="l" defTabSz="584391" rtl="0" eaLnBrk="1" fontAlgn="auto" latinLnBrk="0" hangingPunct="1">
              <a:lnSpc>
                <a:spcPct val="100000"/>
              </a:lnSpc>
              <a:spcBef>
                <a:spcPts val="38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48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584391" rtl="0" eaLnBrk="1" fontAlgn="auto" latinLnBrk="0" hangingPunct="1">
              <a:lnSpc>
                <a:spcPct val="100000"/>
              </a:lnSpc>
              <a:spcBef>
                <a:spcPts val="38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/ question # / base size / additional info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190" y="1119199"/>
            <a:ext cx="11477330" cy="396875"/>
          </a:xfrm>
        </p:spPr>
        <p:txBody>
          <a:bodyPr/>
          <a:lstStyle>
            <a:lvl1pPr>
              <a:spcBef>
                <a:spcPts val="0"/>
              </a:spcBef>
              <a:defRPr sz="767" b="1" i="0" u="sng"/>
            </a:lvl1pPr>
          </a:lstStyle>
          <a:p>
            <a:pPr lvl="0"/>
            <a:r>
              <a:rPr lang="en-GB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78774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5_Inter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92144" y="69834"/>
            <a:ext cx="10972800" cy="711081"/>
          </a:xfrm>
          <a:prstGeom prst="rect">
            <a:avLst/>
          </a:prstGeom>
        </p:spPr>
        <p:txBody>
          <a:bodyPr vert="horz" lIns="117170" tIns="58585" rIns="117170" bIns="58585" rtlCol="0" anchor="ctr">
            <a:norm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545696" y="6390309"/>
            <a:ext cx="646307" cy="396250"/>
          </a:xfrm>
          <a:prstGeom prst="rect">
            <a:avLst/>
          </a:prstGeom>
        </p:spPr>
        <p:txBody>
          <a:bodyPr vert="horz" lIns="243828" tIns="121914" rIns="243828" bIns="121914" rtlCol="0" anchor="ctr"/>
          <a:lstStyle>
            <a:lvl1pPr algn="r">
              <a:defRPr lang="en-US" sz="975" kern="1200" smtClean="0">
                <a:solidFill>
                  <a:srgbClr val="686868"/>
                </a:solidFill>
                <a:latin typeface="Century Gothic" pitchFamily="34" charset="0"/>
                <a:ea typeface="+mn-ea"/>
                <a:cs typeface="+mn-c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67175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2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1" y="1708150"/>
            <a:ext cx="5626800" cy="4003675"/>
          </a:xfrm>
        </p:spPr>
        <p:txBody>
          <a:bodyPr>
            <a:noAutofit/>
          </a:bodyPr>
          <a:lstStyle>
            <a:lvl1pPr>
              <a:spcBef>
                <a:spcPts val="488"/>
              </a:spcBef>
              <a:defRPr sz="1138" b="0">
                <a:solidFill>
                  <a:schemeClr val="tx1"/>
                </a:solidFill>
              </a:defRPr>
            </a:lvl1pPr>
            <a:lvl2pPr>
              <a:spcBef>
                <a:spcPts val="488"/>
              </a:spcBef>
              <a:defRPr sz="1138">
                <a:solidFill>
                  <a:schemeClr val="tx1"/>
                </a:solidFill>
              </a:defRPr>
            </a:lvl2pPr>
            <a:lvl3pPr>
              <a:spcBef>
                <a:spcPts val="488"/>
              </a:spcBef>
              <a:defRPr sz="1138">
                <a:solidFill>
                  <a:schemeClr val="tx1"/>
                </a:solidFill>
              </a:defRPr>
            </a:lvl3pPr>
            <a:lvl4pPr>
              <a:spcBef>
                <a:spcPts val="488"/>
              </a:spcBef>
              <a:defRPr sz="1138">
                <a:solidFill>
                  <a:schemeClr val="tx1"/>
                </a:solidFill>
              </a:defRPr>
            </a:lvl4pPr>
            <a:lvl5pPr>
              <a:spcBef>
                <a:spcPts val="488"/>
              </a:spcBef>
              <a:defRPr sz="1138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6191574" y="1708150"/>
            <a:ext cx="5628409" cy="4003676"/>
          </a:xfrm>
        </p:spPr>
        <p:txBody>
          <a:bodyPr>
            <a:noAutofit/>
          </a:bodyPr>
          <a:lstStyle>
            <a:lvl1pPr>
              <a:spcBef>
                <a:spcPts val="488"/>
              </a:spcBef>
              <a:defRPr sz="1138" b="0">
                <a:solidFill>
                  <a:schemeClr val="tx1"/>
                </a:solidFill>
              </a:defRPr>
            </a:lvl1pPr>
            <a:lvl2pPr>
              <a:spcBef>
                <a:spcPts val="488"/>
              </a:spcBef>
              <a:defRPr sz="1138">
                <a:solidFill>
                  <a:schemeClr val="tx1"/>
                </a:solidFill>
              </a:defRPr>
            </a:lvl2pPr>
            <a:lvl3pPr>
              <a:spcBef>
                <a:spcPts val="488"/>
              </a:spcBef>
              <a:defRPr sz="1138">
                <a:solidFill>
                  <a:schemeClr val="tx1"/>
                </a:solidFill>
              </a:defRPr>
            </a:lvl3pPr>
            <a:lvl4pPr>
              <a:spcBef>
                <a:spcPts val="488"/>
              </a:spcBef>
              <a:defRPr sz="1138">
                <a:solidFill>
                  <a:schemeClr val="tx1"/>
                </a:solidFill>
              </a:defRPr>
            </a:lvl4pPr>
            <a:lvl5pPr>
              <a:spcBef>
                <a:spcPts val="488"/>
              </a:spcBef>
              <a:defRPr sz="1138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98635" y="6430151"/>
            <a:ext cx="128240" cy="1250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13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34BEE3-566C-4068-A777-C3A4762E861B}" type="slidenum">
              <a:rPr lang="en-GB" smtClean="0">
                <a:solidFill>
                  <a:srgbClr val="000000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393509"/>
            <a:ext cx="4670778" cy="197792"/>
          </a:xfrm>
        </p:spPr>
        <p:txBody>
          <a:bodyPr anchor="ctr">
            <a:noAutofit/>
          </a:bodyPr>
          <a:lstStyle>
            <a:lvl1pPr>
              <a:spcBef>
                <a:spcPts val="488"/>
              </a:spcBef>
              <a:defRPr sz="6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5918360"/>
            <a:ext cx="11477330" cy="189479"/>
          </a:xfrm>
        </p:spPr>
        <p:txBody>
          <a:bodyPr anchor="ctr">
            <a:noAutofit/>
          </a:bodyPr>
          <a:lstStyle>
            <a:lvl1pPr marL="0" marR="0" indent="0" algn="l" defTabSz="742950" rtl="0" eaLnBrk="1" fontAlgn="auto" latinLnBrk="0" hangingPunct="1">
              <a:lnSpc>
                <a:spcPct val="100000"/>
              </a:lnSpc>
              <a:spcBef>
                <a:spcPts val="48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69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48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/ question # / base size / additional info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190" y="1119187"/>
            <a:ext cx="11477330" cy="396875"/>
          </a:xfrm>
        </p:spPr>
        <p:txBody>
          <a:bodyPr/>
          <a:lstStyle>
            <a:lvl1pPr>
              <a:spcBef>
                <a:spcPts val="0"/>
              </a:spcBef>
              <a:defRPr sz="975" b="1" i="0" u="sng"/>
            </a:lvl1pPr>
          </a:lstStyle>
          <a:p>
            <a:pPr lvl="0"/>
            <a:r>
              <a:rPr lang="en-GB" dirty="0"/>
              <a:t>Click to edit slide 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211644"/>
            <a:ext cx="11466875" cy="9075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47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690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accent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1785AA-E155-4C3C-91CA-8A2106DE8A99}"/>
              </a:ext>
            </a:extLst>
          </p:cNvPr>
          <p:cNvSpPr/>
          <p:nvPr userDrawn="1"/>
        </p:nvSpPr>
        <p:spPr>
          <a:xfrm>
            <a:off x="4595760" y="1536391"/>
            <a:ext cx="3000480" cy="2458224"/>
          </a:xfrm>
          <a:prstGeom prst="rect">
            <a:avLst/>
          </a:prstGeom>
          <a:noFill/>
          <a:ln w="762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B96EA0D-E6D6-4B4A-A2C2-9E820A52F511}"/>
              </a:ext>
            </a:extLst>
          </p:cNvPr>
          <p:cNvSpPr>
            <a:spLocks noChangeAspect="1"/>
          </p:cNvSpPr>
          <p:nvPr/>
        </p:nvSpPr>
        <p:spPr>
          <a:xfrm>
            <a:off x="5233861" y="2011123"/>
            <a:ext cx="1724278" cy="1508760"/>
          </a:xfrm>
          <a:custGeom>
            <a:avLst/>
            <a:gdLst>
              <a:gd name="connsiteX0" fmla="*/ 6578874 w 9147911"/>
              <a:gd name="connsiteY0" fmla="*/ 571751 h 8004510"/>
              <a:gd name="connsiteX1" fmla="*/ 8008235 w 9147911"/>
              <a:gd name="connsiteY1" fmla="*/ 8008322 h 8004510"/>
              <a:gd name="connsiteX2" fmla="*/ 9151723 w 9147911"/>
              <a:gd name="connsiteY2" fmla="*/ 8008322 h 8004510"/>
              <a:gd name="connsiteX3" fmla="*/ 6578874 w 9147911"/>
              <a:gd name="connsiteY3" fmla="*/ 0 h 8004510"/>
              <a:gd name="connsiteX4" fmla="*/ 4577768 w 9147911"/>
              <a:gd name="connsiteY4" fmla="*/ 2763462 h 8004510"/>
              <a:gd name="connsiteX5" fmla="*/ 2572850 w 9147911"/>
              <a:gd name="connsiteY5" fmla="*/ 0 h 8004510"/>
              <a:gd name="connsiteX6" fmla="*/ 0 w 9147911"/>
              <a:gd name="connsiteY6" fmla="*/ 8008322 h 8004510"/>
              <a:gd name="connsiteX7" fmla="*/ 1143489 w 9147911"/>
              <a:gd name="connsiteY7" fmla="*/ 8008322 h 8004510"/>
              <a:gd name="connsiteX8" fmla="*/ 2572850 w 9147911"/>
              <a:gd name="connsiteY8" fmla="*/ 571751 h 8004510"/>
              <a:gd name="connsiteX9" fmla="*/ 4002211 w 9147911"/>
              <a:gd name="connsiteY9" fmla="*/ 7436571 h 8004510"/>
              <a:gd name="connsiteX10" fmla="*/ 5145700 w 9147911"/>
              <a:gd name="connsiteY10" fmla="*/ 7436571 h 8004510"/>
              <a:gd name="connsiteX11" fmla="*/ 6578874 w 9147911"/>
              <a:gd name="connsiteY11" fmla="*/ 571751 h 8004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7911" h="8004510">
                <a:moveTo>
                  <a:pt x="6578874" y="571751"/>
                </a:moveTo>
                <a:cubicBezTo>
                  <a:pt x="7367881" y="571751"/>
                  <a:pt x="8008235" y="3903152"/>
                  <a:pt x="8008235" y="8008322"/>
                </a:cubicBezTo>
                <a:lnTo>
                  <a:pt x="9151723" y="8008322"/>
                </a:lnTo>
                <a:cubicBezTo>
                  <a:pt x="9155535" y="3586783"/>
                  <a:pt x="8000611" y="0"/>
                  <a:pt x="6578874" y="0"/>
                </a:cubicBezTo>
                <a:cubicBezTo>
                  <a:pt x="5770808" y="0"/>
                  <a:pt x="5046598" y="1078703"/>
                  <a:pt x="4577768" y="2763462"/>
                </a:cubicBezTo>
                <a:cubicBezTo>
                  <a:pt x="4105125" y="1078703"/>
                  <a:pt x="3384727" y="0"/>
                  <a:pt x="2572850" y="0"/>
                </a:cubicBezTo>
                <a:cubicBezTo>
                  <a:pt x="1151112" y="0"/>
                  <a:pt x="0" y="3586783"/>
                  <a:pt x="0" y="8008322"/>
                </a:cubicBezTo>
                <a:lnTo>
                  <a:pt x="1143489" y="8008322"/>
                </a:lnTo>
                <a:cubicBezTo>
                  <a:pt x="1143489" y="3903152"/>
                  <a:pt x="1783843" y="571751"/>
                  <a:pt x="2572850" y="571751"/>
                </a:cubicBezTo>
                <a:cubicBezTo>
                  <a:pt x="3361857" y="571751"/>
                  <a:pt x="4002211" y="3643958"/>
                  <a:pt x="4002211" y="7436571"/>
                </a:cubicBezTo>
                <a:lnTo>
                  <a:pt x="5145700" y="7436571"/>
                </a:lnTo>
                <a:cubicBezTo>
                  <a:pt x="5149512" y="3647770"/>
                  <a:pt x="5789866" y="571751"/>
                  <a:pt x="6578874" y="571751"/>
                </a:cubicBezTo>
              </a:path>
            </a:pathLst>
          </a:custGeom>
          <a:solidFill>
            <a:schemeClr val="accent1"/>
          </a:solidFill>
          <a:ln w="2437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2077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es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0"/>
            <a:ext cx="12188952" cy="502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2" name="Seeds White">
            <a:extLst>
              <a:ext uri="{FF2B5EF4-FFF2-40B4-BE49-F238E27FC236}">
                <a16:creationId xmlns:a16="http://schemas.microsoft.com/office/drawing/2014/main" id="{C0CFE324-34A0-4915-A0D1-A613F744D4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51506" r="13144" b="-179"/>
          <a:stretch/>
        </p:blipFill>
        <p:spPr>
          <a:xfrm>
            <a:off x="0" y="-1"/>
            <a:ext cx="12192000" cy="5029200"/>
          </a:xfrm>
          <a:prstGeom prst="rect">
            <a:avLst/>
          </a:prstGeom>
        </p:spPr>
      </p:pic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11079480" y="562356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1152144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1152144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985980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DD7EE2F-56DA-4FC6-9605-07FD606C55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244475 w 12192000"/>
              <a:gd name="connsiteY0" fmla="*/ 228600 h 6858000"/>
              <a:gd name="connsiteX1" fmla="*/ 244475 w 12192000"/>
              <a:gd name="connsiteY1" fmla="*/ 6629400 h 6858000"/>
              <a:gd name="connsiteX2" fmla="*/ 11947525 w 12192000"/>
              <a:gd name="connsiteY2" fmla="*/ 6629400 h 6858000"/>
              <a:gd name="connsiteX3" fmla="*/ 11947525 w 12192000"/>
              <a:gd name="connsiteY3" fmla="*/ 228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244475" y="228600"/>
                </a:moveTo>
                <a:lnTo>
                  <a:pt x="244475" y="6629400"/>
                </a:lnTo>
                <a:lnTo>
                  <a:pt x="11947525" y="6629400"/>
                </a:lnTo>
                <a:lnTo>
                  <a:pt x="11947525" y="228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417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280" y="1371600"/>
            <a:ext cx="11521440" cy="1828800"/>
          </a:xfrm>
        </p:spPr>
        <p:txBody>
          <a:bodyPr lIns="91440" rIns="91440" anchor="t" anchorCtr="0">
            <a:no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5A367CF-DC60-40EA-9DDA-9041D5B07D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96" r="34344" b="58268"/>
          <a:stretch/>
        </p:blipFill>
        <p:spPr>
          <a:xfrm>
            <a:off x="4937760" y="3036696"/>
            <a:ext cx="7254240" cy="3821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630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239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345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273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3273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384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B4D03-7691-4843-8ADC-98DB675CE0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3B22C15-7EC6-4021-AD3F-B561260F355A}"/>
              </a:ext>
            </a:extLst>
          </p:cNvPr>
          <p:cNvSpPr/>
          <p:nvPr/>
        </p:nvSpPr>
        <p:spPr>
          <a:xfrm flipH="1">
            <a:off x="0" y="6362624"/>
            <a:ext cx="11507877" cy="495376"/>
          </a:xfrm>
          <a:custGeom>
            <a:avLst/>
            <a:gdLst>
              <a:gd name="connsiteX0" fmla="*/ 11507877 w 11507877"/>
              <a:gd name="connsiteY0" fmla="*/ 0 h 495376"/>
              <a:gd name="connsiteX1" fmla="*/ 0 w 11507877"/>
              <a:gd name="connsiteY1" fmla="*/ 0 h 495376"/>
              <a:gd name="connsiteX2" fmla="*/ 495376 w 11507877"/>
              <a:gd name="connsiteY2" fmla="*/ 495376 h 495376"/>
              <a:gd name="connsiteX3" fmla="*/ 11507877 w 11507877"/>
              <a:gd name="connsiteY3" fmla="*/ 495376 h 495376"/>
              <a:gd name="connsiteX4" fmla="*/ 11507877 w 11507877"/>
              <a:gd name="connsiteY4" fmla="*/ 0 h 49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7877" h="495376">
                <a:moveTo>
                  <a:pt x="11507877" y="0"/>
                </a:moveTo>
                <a:lnTo>
                  <a:pt x="0" y="0"/>
                </a:lnTo>
                <a:cubicBezTo>
                  <a:pt x="0" y="274091"/>
                  <a:pt x="221285" y="495376"/>
                  <a:pt x="495376" y="495376"/>
                </a:cubicBezTo>
                <a:lnTo>
                  <a:pt x="11507877" y="495376"/>
                </a:lnTo>
                <a:lnTo>
                  <a:pt x="11507877" y="0"/>
                </a:lnTo>
                <a:close/>
              </a:path>
            </a:pathLst>
          </a:custGeom>
          <a:solidFill>
            <a:schemeClr val="accent1"/>
          </a:solidFill>
          <a:ln w="2513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412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>
          <p15:clr>
            <a:srgbClr val="FBAE40"/>
          </p15:clr>
        </p15:guide>
        <p15:guide id="2" orient="horz" pos="778">
          <p15:clr>
            <a:srgbClr val="FBAE40"/>
          </p15:clr>
        </p15:guide>
        <p15:guide id="3" orient="horz" pos="4003">
          <p15:clr>
            <a:srgbClr val="FBAE40"/>
          </p15:clr>
        </p15:guide>
        <p15:guide id="4" orient="horz" pos="239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720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Graphic 4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166291" y="1654806"/>
            <a:ext cx="5851803" cy="2538743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7721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11522074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1498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eeds White">
            <a:extLst>
              <a:ext uri="{FF2B5EF4-FFF2-40B4-BE49-F238E27FC236}">
                <a16:creationId xmlns:a16="http://schemas.microsoft.com/office/drawing/2014/main" id="{BE3D037D-2B92-4D29-836F-DDD1A417F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39374" r="13144" b="6"/>
          <a:stretch/>
        </p:blipFill>
        <p:spPr>
          <a:xfrm>
            <a:off x="0" y="-2"/>
            <a:ext cx="12192000" cy="626364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11522074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07765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pic>
        <p:nvPicPr>
          <p:cNvPr id="6" name="Seeds White">
            <a:extLst>
              <a:ext uri="{FF2B5EF4-FFF2-40B4-BE49-F238E27FC236}">
                <a16:creationId xmlns:a16="http://schemas.microsoft.com/office/drawing/2014/main" id="{136E96AD-2C38-4E08-8A7D-A524117FDF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39374" r="55207" b="6"/>
          <a:stretch/>
        </p:blipFill>
        <p:spPr>
          <a:xfrm>
            <a:off x="0" y="-2"/>
            <a:ext cx="6096000" cy="626364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539496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099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image" Target="../media/image11.png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ags" Target="../tags/tag37.xml"/><Relationship Id="rId8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#">
            <a:extLst>
              <a:ext uri="{FF2B5EF4-FFF2-40B4-BE49-F238E27FC236}">
                <a16:creationId xmlns:a16="http://schemas.microsoft.com/office/drawing/2014/main" id="{7A0AC045-B0D9-4E25-91F7-9CC620BECAD4}"/>
              </a:ext>
            </a:extLst>
          </p:cNvPr>
          <p:cNvSpPr txBox="1"/>
          <p:nvPr userDrawn="1"/>
        </p:nvSpPr>
        <p:spPr>
          <a:xfrm>
            <a:off x="11694817" y="6492240"/>
            <a:ext cx="161903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spcBef>
                <a:spcPts val="600"/>
              </a:spcBef>
              <a:defRPr sz="1000"/>
            </a:lvl1pPr>
          </a:lstStyle>
          <a:p>
            <a:pPr lvl="0"/>
            <a:fld id="{25589270-315C-446D-8A4F-4844CE0CD1E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5D60C56C-6A14-43BE-BFEF-358E6A64CC62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143000"/>
            <a:ext cx="11522075" cy="5120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11522075" cy="640080"/>
          </a:xfrm>
          <a:prstGeom prst="rect">
            <a:avLst/>
          </a:prstGeom>
        </p:spPr>
        <p:txBody>
          <a:bodyPr vert="horz" lIns="0" tIns="45720" rIns="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lide</a:t>
            </a:r>
          </a:p>
        </p:txBody>
      </p:sp>
    </p:spTree>
    <p:custDataLst>
      <p:tags r:id="rId37"/>
    </p:custDataLst>
    <p:extLst>
      <p:ext uri="{BB962C8B-B14F-4D97-AF65-F5344CB8AC3E}">
        <p14:creationId xmlns:p14="http://schemas.microsoft.com/office/powerpoint/2010/main" val="3056352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80000"/>
        </a:lnSpc>
        <a:spcBef>
          <a:spcPts val="60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1800"/>
        </a:spcBef>
        <a:buClr>
          <a:schemeClr val="accent2"/>
        </a:buClr>
        <a:buSzPct val="85000"/>
        <a:buFont typeface="Symbol" panose="05050102010706020507" pitchFamily="18" charset="2"/>
        <a:buChar char="·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231775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Speedee" panose="020B06030305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9775" indent="-168275" algn="l" defTabSz="914400" rtl="0" eaLnBrk="1" latinLnBrk="0" hangingPunct="1">
        <a:lnSpc>
          <a:spcPct val="90000"/>
        </a:lnSpc>
        <a:spcBef>
          <a:spcPts val="200"/>
        </a:spcBef>
        <a:buClr>
          <a:schemeClr val="tx2"/>
        </a:buClr>
        <a:buSzPct val="85000"/>
        <a:buFont typeface="Symbol" panose="05050102010706020507" pitchFamily="18" charset="2"/>
        <a:buChar char="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3038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Speedee" panose="020B06030305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96975" indent="-169863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Speedee" panose="020B06030305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1910">
          <p15:clr>
            <a:srgbClr val="F26B43"/>
          </p15:clr>
        </p15:guide>
        <p15:guide id="5" pos="5770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417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2880">
          <p15:clr>
            <a:srgbClr val="F26B43"/>
          </p15:clr>
        </p15:guide>
        <p15:guide id="13" orient="horz" pos="2160">
          <p15:clr>
            <a:srgbClr val="F26B43"/>
          </p15:clr>
        </p15:guide>
        <p15:guide id="14" orient="horz" pos="39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3DD038-D290-4952-9A79-54683E176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0"/>
            <a:ext cx="11522075" cy="7315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997B17-16D6-4643-9FD4-9788B5AB6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235074"/>
            <a:ext cx="11522075" cy="5120640"/>
          </a:xfrm>
          <a:prstGeom prst="rect">
            <a:avLst/>
          </a:prstGeom>
        </p:spPr>
        <p:txBody>
          <a:bodyPr vert="horz" lIns="137160" tIns="91440" rIns="137160" bIns="274320" rtlCol="0" anchor="ctr" anchorCtr="1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2CAB7C-07EB-4115-B93E-E3BAE87D6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484" y="6488977"/>
            <a:ext cx="254236" cy="140423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1000" smtClean="0"/>
            </a:lvl1pPr>
          </a:lstStyle>
          <a:p>
            <a:pPr algn="r" defTabSz="914377">
              <a:lnSpc>
                <a:spcPct val="90000"/>
              </a:lnSpc>
              <a:spcBef>
                <a:spcPts val="1800"/>
              </a:spcBef>
              <a:buSzPct val="95000"/>
            </a:pPr>
            <a:fld id="{EA543DA1-053B-459F-9A3B-E2E644C3A7CD}" type="slidenum">
              <a:rPr lang="en-US" smtClean="0"/>
              <a:pPr algn="r" defTabSz="914377">
                <a:lnSpc>
                  <a:spcPct val="90000"/>
                </a:lnSpc>
                <a:spcBef>
                  <a:spcPts val="180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35"/>
    </p:custDataLst>
    <p:extLst>
      <p:ext uri="{BB962C8B-B14F-4D97-AF65-F5344CB8AC3E}">
        <p14:creationId xmlns:p14="http://schemas.microsoft.com/office/powerpoint/2010/main" val="2707024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  <p:sldLayoutId id="2147483726" r:id="rId30"/>
    <p:sldLayoutId id="2147483727" r:id="rId31"/>
    <p:sldLayoutId id="2147483728" r:id="rId32"/>
    <p:sldLayoutId id="2147483729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buNone/>
        <a:defRPr sz="3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87338" indent="-287338" algn="l" defTabSz="914400" rtl="0" eaLnBrk="1" latinLnBrk="0" hangingPunct="1">
        <a:lnSpc>
          <a:spcPct val="90000"/>
        </a:lnSpc>
        <a:spcBef>
          <a:spcPts val="1800"/>
        </a:spcBef>
        <a:buFontTx/>
        <a:buBlip>
          <a:blip r:embed="rId36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41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5.xml"/><Relationship Id="rId4" Type="http://schemas.openxmlformats.org/officeDocument/2006/relationships/image" Target="../media/image21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6.xml"/><Relationship Id="rId4" Type="http://schemas.openxmlformats.org/officeDocument/2006/relationships/image" Target="../media/image21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8.xml"/><Relationship Id="rId4" Type="http://schemas.openxmlformats.org/officeDocument/2006/relationships/image" Target="../media/image21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9.xml"/><Relationship Id="rId4" Type="http://schemas.openxmlformats.org/officeDocument/2006/relationships/image" Target="../media/image21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0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0.xml"/><Relationship Id="rId4" Type="http://schemas.openxmlformats.org/officeDocument/2006/relationships/image" Target="../media/image21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1.xml"/><Relationship Id="rId4" Type="http://schemas.openxmlformats.org/officeDocument/2006/relationships/image" Target="../media/image21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8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7.xml"/><Relationship Id="rId4" Type="http://schemas.openxmlformats.org/officeDocument/2006/relationships/image" Target="../media/image2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22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9.xml"/><Relationship Id="rId4" Type="http://schemas.openxmlformats.org/officeDocument/2006/relationships/image" Target="../media/image21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7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hyperlink" Target="http://garsbmy.onmicrosoft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1.xml"/><Relationship Id="rId4" Type="http://schemas.openxmlformats.org/officeDocument/2006/relationships/image" Target="../media/image2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ctrTitle"/>
          </p:nvPr>
        </p:nvSpPr>
        <p:spPr>
          <a:xfrm>
            <a:off x="335280" y="1600200"/>
            <a:ext cx="8031972" cy="2352675"/>
          </a:xfrm>
        </p:spPr>
        <p:txBody>
          <a:bodyPr/>
          <a:lstStyle/>
          <a:p>
            <a:r>
              <a:rPr lang="en-US" sz="3200" dirty="0"/>
              <a:t>Migration of Microsoft365 to Own Tenant</a:t>
            </a:r>
          </a:p>
        </p:txBody>
      </p:sp>
      <p:sp>
        <p:nvSpPr>
          <p:cNvPr id="16" name="Subtitle 3">
            <a:extLst>
              <a:ext uri="{FF2B5EF4-FFF2-40B4-BE49-F238E27FC236}">
                <a16:creationId xmlns:a16="http://schemas.microsoft.com/office/drawing/2014/main" id="{E2208C9E-160F-4546-BA16-108EA95F07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5257800"/>
            <a:ext cx="7498080" cy="1371600"/>
          </a:xfrm>
        </p:spPr>
        <p:txBody>
          <a:bodyPr/>
          <a:lstStyle/>
          <a:p>
            <a:r>
              <a:rPr lang="en-US" dirty="0"/>
              <a:t>21 May 2024</a:t>
            </a:r>
          </a:p>
          <a:p>
            <a:endParaRPr lang="en-US" dirty="0"/>
          </a:p>
          <a:p>
            <a:r>
              <a:rPr lang="en-US" i="1" dirty="0"/>
              <a:t>Data &amp; Analytics Depart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120702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75C910C-133C-4AC0-A9AC-C3DCCB334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arket</a:t>
            </a:r>
          </a:p>
        </p:txBody>
      </p:sp>
      <p:graphicFrame>
        <p:nvGraphicFramePr>
          <p:cNvPr id="5" name="Table">
            <a:extLst>
              <a:ext uri="{FF2B5EF4-FFF2-40B4-BE49-F238E27FC236}">
                <a16:creationId xmlns:a16="http://schemas.microsoft.com/office/drawing/2014/main" id="{72DD8E04-07B5-4B24-A321-835775946A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842003"/>
              </p:ext>
            </p:extLst>
          </p:nvPr>
        </p:nvGraphicFramePr>
        <p:xfrm>
          <a:off x="510363" y="954943"/>
          <a:ext cx="11132997" cy="5557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6997">
                  <a:extLst>
                    <a:ext uri="{9D8B030D-6E8A-4147-A177-3AD203B41FA5}">
                      <a16:colId xmlns:a16="http://schemas.microsoft.com/office/drawing/2014/main" val="4027735432"/>
                    </a:ext>
                  </a:extLst>
                </a:gridCol>
                <a:gridCol w="4968240">
                  <a:extLst>
                    <a:ext uri="{9D8B030D-6E8A-4147-A177-3AD203B41FA5}">
                      <a16:colId xmlns:a16="http://schemas.microsoft.com/office/drawing/2014/main" val="3105209167"/>
                    </a:ext>
                  </a:extLst>
                </a:gridCol>
                <a:gridCol w="4937760">
                  <a:extLst>
                    <a:ext uri="{9D8B030D-6E8A-4147-A177-3AD203B41FA5}">
                      <a16:colId xmlns:a16="http://schemas.microsoft.com/office/drawing/2014/main" val="1136952292"/>
                    </a:ext>
                  </a:extLst>
                </a:gridCol>
              </a:tblGrid>
              <a:tr h="788797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Catego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Indonesia</a:t>
                      </a:r>
                    </a:p>
                  </a:txBody>
                  <a:tcPr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Hong Ko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552015"/>
                  </a:ext>
                </a:extLst>
              </a:tr>
              <a:tr h="301725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Notes</a:t>
                      </a:r>
                    </a:p>
                  </a:txBody>
                  <a:tcPr marB="6400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stly use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365 E3 licenses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to use Excel desktop instead of excel online due to poor internet connectivity to their stores nationwide)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Work with SPAN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ensure all mailboxes were migrated successfully and all cleanups were successful (ensure no link to GPO, etc.). 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me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D-related cleanup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as done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uring the migration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hared mailboxes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re re-created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post-migration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ffboarded to </a:t>
                      </a:r>
                      <a:r>
                        <a:rPr lang="en-US" sz="1300" b="1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harepoint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online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fter a few quarters.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ependently managed tenancy helped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enable CoPilot effort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which otherwise they could not have gained access with the prior globally managed tenancy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Use GAM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the user administration.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onverted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ll the reporting that was needed to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ableau and Cognos.</a:t>
                      </a:r>
                    </a:p>
                  </a:txBody>
                  <a:tcPr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14155"/>
                  </a:ext>
                </a:extLst>
              </a:tr>
              <a:tr h="156631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Cost</a:t>
                      </a:r>
                    </a:p>
                  </a:txBody>
                  <a:tcPr marB="6400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3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SPAN: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PEX: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ne-off / 8000 USD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X: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4000 USD / month for 800 users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3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proximately overall cost: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uming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chnology Budget is allocated from Revenue</a:t>
                      </a:r>
                    </a:p>
                    <a:p>
                      <a:pPr marL="182563" indent="-182563" algn="l" defTabSz="914400" rtl="0" eaLnBrk="1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30%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f their Technology Budget is allocated to </a:t>
                      </a:r>
                      <a:r>
                        <a:rPr lang="en-US" sz="13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berSecurity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0810882"/>
                  </a:ext>
                </a:extLst>
              </a:tr>
            </a:tbl>
          </a:graphicData>
        </a:graphic>
      </p:graphicFrame>
      <p:sp>
        <p:nvSpPr>
          <p:cNvPr id="19" name="Oval 18">
            <a:extLst>
              <a:ext uri="{FF2B5EF4-FFF2-40B4-BE49-F238E27FC236}">
                <a16:creationId xmlns:a16="http://schemas.microsoft.com/office/drawing/2014/main" id="{274F8C00-EB7E-BE40-637E-2093D1745EEF}"/>
              </a:ext>
            </a:extLst>
          </p:cNvPr>
          <p:cNvSpPr/>
          <p:nvPr/>
        </p:nvSpPr>
        <p:spPr>
          <a:xfrm>
            <a:off x="4784889" y="1008811"/>
            <a:ext cx="650239" cy="652457"/>
          </a:xfrm>
          <a:prstGeom prst="ellipse">
            <a:avLst/>
          </a:prstGeom>
          <a:blipFill>
            <a:blip r:embed="rId4"/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76110A6-1626-26C4-5155-A0AEC5280A38}"/>
              </a:ext>
            </a:extLst>
          </p:cNvPr>
          <p:cNvSpPr/>
          <p:nvPr/>
        </p:nvSpPr>
        <p:spPr>
          <a:xfrm>
            <a:off x="9782182" y="1030077"/>
            <a:ext cx="650239" cy="640081"/>
          </a:xfrm>
          <a:prstGeom prst="ellipse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97977B-6C08-6CE8-9572-F14E75E8B531}"/>
              </a:ext>
            </a:extLst>
          </p:cNvPr>
          <p:cNvSpPr/>
          <p:nvPr/>
        </p:nvSpPr>
        <p:spPr>
          <a:xfrm>
            <a:off x="12684609" y="415788"/>
            <a:ext cx="1505029" cy="1505029"/>
          </a:xfrm>
          <a:prstGeom prst="ellipse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202437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posal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40071548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32D67-41DF-6F08-B909-2F0935917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posal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5756550-34FE-F0A1-6FFC-6BD9C24AC4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573212"/>
              </p:ext>
            </p:extLst>
          </p:nvPr>
        </p:nvGraphicFramePr>
        <p:xfrm>
          <a:off x="334964" y="1126066"/>
          <a:ext cx="11237278" cy="3951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415">
                  <a:extLst>
                    <a:ext uri="{9D8B030D-6E8A-4147-A177-3AD203B41FA5}">
                      <a16:colId xmlns:a16="http://schemas.microsoft.com/office/drawing/2014/main" val="259848298"/>
                    </a:ext>
                  </a:extLst>
                </a:gridCol>
                <a:gridCol w="4954959">
                  <a:extLst>
                    <a:ext uri="{9D8B030D-6E8A-4147-A177-3AD203B41FA5}">
                      <a16:colId xmlns:a16="http://schemas.microsoft.com/office/drawing/2014/main" val="1505482110"/>
                    </a:ext>
                  </a:extLst>
                </a:gridCol>
                <a:gridCol w="2317601">
                  <a:extLst>
                    <a:ext uri="{9D8B030D-6E8A-4147-A177-3AD203B41FA5}">
                      <a16:colId xmlns:a16="http://schemas.microsoft.com/office/drawing/2014/main" val="130687893"/>
                    </a:ext>
                  </a:extLst>
                </a:gridCol>
                <a:gridCol w="1800808">
                  <a:extLst>
                    <a:ext uri="{9D8B030D-6E8A-4147-A177-3AD203B41FA5}">
                      <a16:colId xmlns:a16="http://schemas.microsoft.com/office/drawing/2014/main" val="425437577"/>
                    </a:ext>
                  </a:extLst>
                </a:gridCol>
                <a:gridCol w="1560495">
                  <a:extLst>
                    <a:ext uri="{9D8B030D-6E8A-4147-A177-3AD203B41FA5}">
                      <a16:colId xmlns:a16="http://schemas.microsoft.com/office/drawing/2014/main" val="1869577755"/>
                    </a:ext>
                  </a:extLst>
                </a:gridCol>
              </a:tblGrid>
              <a:tr h="45889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</a:t>
                      </a:r>
                      <a:endParaRPr lang="en-MY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posal</a:t>
                      </a:r>
                      <a:endParaRPr lang="en-MY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enefit</a:t>
                      </a:r>
                      <a:endParaRPr lang="en-MY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ost (RM)</a:t>
                      </a:r>
                      <a:endParaRPr lang="en-MY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600" dirty="0"/>
                        <a:t>Cost (USD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2162238"/>
                  </a:ext>
                </a:extLst>
              </a:tr>
              <a:tr h="109107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.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None/>
                      </a:pPr>
                      <a:r>
                        <a:rPr lang="en-US" sz="1600" dirty="0"/>
                        <a:t>New tenant setup and migration cost</a:t>
                      </a:r>
                    </a:p>
                    <a:p>
                      <a:pPr marL="355600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One-time cost to migrate from current corporate tenant to own tenant</a:t>
                      </a:r>
                    </a:p>
                    <a:p>
                      <a:pPr marL="0" indent="182563">
                        <a:buFont typeface="Arial" panose="020B0604020202020204" pitchFamily="34" charset="0"/>
                        <a:buNone/>
                      </a:pP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ost Avoidance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73,000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  <a:r>
                        <a:rPr lang="en-MY" sz="1600" dirty="0"/>
                        <a:t>00,6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372490"/>
                  </a:ext>
                </a:extLst>
              </a:tr>
              <a:tr h="109107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.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igrate and upgrade from Microsoft365 E3 license to Microsoft365 E5 license</a:t>
                      </a:r>
                    </a:p>
                    <a:p>
                      <a:pPr marL="355600" indent="-173038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ost of software license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ost Benef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Increase efficiency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BC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MY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0483743"/>
                  </a:ext>
                </a:extLst>
              </a:tr>
              <a:tr h="109107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.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frastructure and Security Management level approach</a:t>
                      </a:r>
                    </a:p>
                    <a:p>
                      <a:pPr marL="355600" indent="-173038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One-time cost – This will be under IT Cybersecurity initiative</a:t>
                      </a:r>
                    </a:p>
                    <a:p>
                      <a:pPr marL="355600" indent="-173038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Yearly recurring cost for infrastructure support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ost Benefit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Operational efficiency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BC</a:t>
                      </a:r>
                      <a:endParaRPr lang="en-MY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MY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00270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AC17F75-4462-0A4D-E2ED-7BC263FCF2B2}"/>
              </a:ext>
            </a:extLst>
          </p:cNvPr>
          <p:cNvSpPr/>
          <p:nvPr/>
        </p:nvSpPr>
        <p:spPr>
          <a:xfrm>
            <a:off x="11141782" y="38101"/>
            <a:ext cx="860919" cy="381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WIP</a:t>
            </a:r>
            <a:endParaRPr lang="en-MY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68953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CF184-4BC1-AD1F-AC7C-4680D56D3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tenant setup and migration cost</a:t>
            </a:r>
            <a:endParaRPr lang="en-MY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2A87C87-F35A-1F57-DA48-0502ED507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435430"/>
              </p:ext>
            </p:extLst>
          </p:nvPr>
        </p:nvGraphicFramePr>
        <p:xfrm>
          <a:off x="334963" y="1009650"/>
          <a:ext cx="11522075" cy="5426403"/>
        </p:xfrm>
        <a:graphic>
          <a:graphicData uri="http://schemas.openxmlformats.org/drawingml/2006/table">
            <a:tbl>
              <a:tblPr/>
              <a:tblGrid>
                <a:gridCol w="1351179">
                  <a:extLst>
                    <a:ext uri="{9D8B030D-6E8A-4147-A177-3AD203B41FA5}">
                      <a16:colId xmlns:a16="http://schemas.microsoft.com/office/drawing/2014/main" val="3331289894"/>
                    </a:ext>
                  </a:extLst>
                </a:gridCol>
                <a:gridCol w="7572158">
                  <a:extLst>
                    <a:ext uri="{9D8B030D-6E8A-4147-A177-3AD203B41FA5}">
                      <a16:colId xmlns:a16="http://schemas.microsoft.com/office/drawing/2014/main" val="1340712741"/>
                    </a:ext>
                  </a:extLst>
                </a:gridCol>
                <a:gridCol w="2598738">
                  <a:extLst>
                    <a:ext uri="{9D8B030D-6E8A-4147-A177-3AD203B41FA5}">
                      <a16:colId xmlns:a16="http://schemas.microsoft.com/office/drawing/2014/main" val="619753176"/>
                    </a:ext>
                  </a:extLst>
                </a:gridCol>
              </a:tblGrid>
              <a:tr h="4122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Speedee" panose="020B060303050202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Speedee" panose="020B0603030502020204" pitchFamily="34" charset="0"/>
                        </a:rPr>
                        <a:t>High Level So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Speedee" panose="020B0603030502020204" pitchFamily="34" charset="0"/>
                        </a:rPr>
                        <a:t>Costing (RM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600776"/>
                  </a:ext>
                </a:extLst>
              </a:tr>
              <a:tr h="425975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Professional Fe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4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050704"/>
                  </a:ext>
                </a:extLst>
              </a:tr>
              <a:tr h="9546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SPAN (Global IT Vendor)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</a:b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Offboarding Malaysia from global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vNext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 tenant into their own separate tenant and stay connect on Global Active Directory.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Speedee" panose="020B06030305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                                  275,0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314076"/>
                  </a:ext>
                </a:extLst>
              </a:tr>
              <a:tr h="9387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GTRM (Global IT Team)</a:t>
                      </a:r>
                    </a:p>
                    <a:p>
                      <a:pPr algn="l" rtl="0" fontAlgn="ctr"/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Azure AD Setup, MIM Configuration, Removal from MCD tenant, Synchronization to new Market Tena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Speedee" panose="020B06030305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                                    55,0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128160"/>
                  </a:ext>
                </a:extLst>
              </a:tr>
              <a:tr h="11715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GTES (Global IT Team)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</a:b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SharePoint one time costing from GTES ECC Team. around Changing all access to Global SharePoint to External Access so that users can continue access to global SharePoint site.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Speedee" panose="020B06030305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                                    33,0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8377139"/>
                  </a:ext>
                </a:extLst>
              </a:tr>
              <a:tr h="101927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Speedee" panose="020B0603030502020204" pitchFamily="34" charset="0"/>
                        </a:rPr>
                        <a:t>&lt;To be confirmed&gt; (Local IT Solution Provider) 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</a:b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Work with SPAN on configuration, license subscription and end user deployment, including data migra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Speedee" panose="020B06030305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4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Speedee" panose="020B0603030502020204" pitchFamily="34" charset="0"/>
                        </a:rPr>
                        <a:t>                                   110,00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503631"/>
                  </a:ext>
                </a:extLst>
              </a:tr>
              <a:tr h="504000"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TOTAL ONE TIME COST (RM)</a:t>
                      </a:r>
                    </a:p>
                  </a:txBody>
                  <a:tcPr marL="9525" marR="857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4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Speedee" panose="020B0603030502020204" pitchFamily="34" charset="0"/>
                        </a:rPr>
                        <a:t>473,000</a:t>
                      </a:r>
                    </a:p>
                  </a:txBody>
                  <a:tcPr marL="9525" marR="857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586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38266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3A40B-2795-6EAF-6622-A6C4A7ED7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Migrate and upgrade to Microsoft365 E5 license and Infrastructure &amp; Security Management cost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966E977-76C3-ED72-B318-8E6991731E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5722978"/>
              </p:ext>
            </p:extLst>
          </p:nvPr>
        </p:nvGraphicFramePr>
        <p:xfrm>
          <a:off x="334963" y="938696"/>
          <a:ext cx="11695111" cy="5142201"/>
        </p:xfrm>
        <a:graphic>
          <a:graphicData uri="http://schemas.openxmlformats.org/drawingml/2006/table">
            <a:tbl>
              <a:tblPr/>
              <a:tblGrid>
                <a:gridCol w="598487">
                  <a:extLst>
                    <a:ext uri="{9D8B030D-6E8A-4147-A177-3AD203B41FA5}">
                      <a16:colId xmlns:a16="http://schemas.microsoft.com/office/drawing/2014/main" val="3744153854"/>
                    </a:ext>
                  </a:extLst>
                </a:gridCol>
                <a:gridCol w="1704331">
                  <a:extLst>
                    <a:ext uri="{9D8B030D-6E8A-4147-A177-3AD203B41FA5}">
                      <a16:colId xmlns:a16="http://schemas.microsoft.com/office/drawing/2014/main" val="3452726789"/>
                    </a:ext>
                  </a:extLst>
                </a:gridCol>
                <a:gridCol w="543569">
                  <a:extLst>
                    <a:ext uri="{9D8B030D-6E8A-4147-A177-3AD203B41FA5}">
                      <a16:colId xmlns:a16="http://schemas.microsoft.com/office/drawing/2014/main" val="2736132224"/>
                    </a:ext>
                  </a:extLst>
                </a:gridCol>
                <a:gridCol w="714375">
                  <a:extLst>
                    <a:ext uri="{9D8B030D-6E8A-4147-A177-3AD203B41FA5}">
                      <a16:colId xmlns:a16="http://schemas.microsoft.com/office/drawing/2014/main" val="564843787"/>
                    </a:ext>
                  </a:extLst>
                </a:gridCol>
                <a:gridCol w="1153190">
                  <a:extLst>
                    <a:ext uri="{9D8B030D-6E8A-4147-A177-3AD203B41FA5}">
                      <a16:colId xmlns:a16="http://schemas.microsoft.com/office/drawing/2014/main" val="3091440992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1946659847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3093720699"/>
                    </a:ext>
                  </a:extLst>
                </a:gridCol>
                <a:gridCol w="583124">
                  <a:extLst>
                    <a:ext uri="{9D8B030D-6E8A-4147-A177-3AD203B41FA5}">
                      <a16:colId xmlns:a16="http://schemas.microsoft.com/office/drawing/2014/main" val="120564302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1968262803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2735849399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1424132182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3779969306"/>
                    </a:ext>
                  </a:extLst>
                </a:gridCol>
                <a:gridCol w="914005">
                  <a:extLst>
                    <a:ext uri="{9D8B030D-6E8A-4147-A177-3AD203B41FA5}">
                      <a16:colId xmlns:a16="http://schemas.microsoft.com/office/drawing/2014/main" val="2558169769"/>
                    </a:ext>
                  </a:extLst>
                </a:gridCol>
              </a:tblGrid>
              <a:tr h="40100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No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Description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No of User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  <a:endParaRPr lang="en-MY" sz="11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BC0D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Current  - Global Tenancy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No of User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To-Be - Own Tenancy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Comparison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5277874"/>
                  </a:ext>
                </a:extLst>
              </a:tr>
              <a:tr h="147668"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1" i="0" u="none" strike="noStrike">
                        <a:solidFill>
                          <a:srgbClr val="FFFFFF"/>
                        </a:solidFill>
                        <a:effectLst/>
                        <a:highlight>
                          <a:srgbClr val="FFBC0D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BC0D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BC0D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BC0D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) /user/month</a:t>
                      </a:r>
                      <a:endParaRPr lang="en-MY" dirty="0"/>
                    </a:p>
                  </a:txBody>
                  <a:tcPr marL="4858" marR="4858" marT="4858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) /user/year</a:t>
                      </a:r>
                    </a:p>
                  </a:txBody>
                  <a:tcPr marL="4858" marR="4858" marT="4858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Expenses /Year (RM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1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BC0D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) /user/month</a:t>
                      </a:r>
                    </a:p>
                  </a:txBody>
                  <a:tcPr marL="4858" marR="4858" marT="4858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/user/year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Expenses /Year (RM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Difference (RM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Difference (%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648489"/>
                  </a:ext>
                </a:extLst>
              </a:tr>
              <a:tr h="208536">
                <a:tc gridSpan="13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Software Licenses – RM 1,037,760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447304"/>
                  </a:ext>
                </a:extLst>
              </a:tr>
              <a:tr h="20853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M365 E5 (RSC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6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32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812,1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5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84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,285,9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473,7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58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370078"/>
                  </a:ext>
                </a:extLst>
              </a:tr>
              <a:tr h="341615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formation Workers</a:t>
                      </a:r>
                      <a:endParaRPr lang="en-MY" dirty="0"/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 5030)</a:t>
                      </a:r>
                      <a:endParaRPr lang="en-MY" dirty="0"/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 5030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 5030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1358748"/>
                  </a:ext>
                </a:extLst>
              </a:tr>
              <a:tr h="20853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O365 E1 (Store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4.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56.4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106032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1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1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25,6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119,56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113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7452690"/>
                  </a:ext>
                </a:extLst>
              </a:tr>
              <a:tr h="208536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Deskless Worker</a:t>
                      </a:r>
                      <a:endParaRPr lang="en-MY" dirty="0"/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(SKU 5031)</a:t>
                      </a:r>
                      <a:endParaRPr lang="en-MY" dirty="0"/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(SKU 5031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(SKU 5031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162159"/>
                  </a:ext>
                </a:extLst>
              </a:tr>
              <a:tr h="378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Mobile Device </a:t>
                      </a:r>
                      <a:r>
                        <a:rPr lang="en-MY" sz="11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Mgt</a:t>
                      </a:r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 (RSC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12,8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112,8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100%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782600"/>
                  </a:ext>
                </a:extLst>
              </a:tr>
              <a:tr h="323276">
                <a:tc gridSpan="13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Software Licenses under </a:t>
                      </a:r>
                      <a:r>
                        <a:rPr lang="en-MY" sz="1100" b="1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Garsb</a:t>
                      </a:r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 – RM 479,400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4E7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9110391"/>
                  </a:ext>
                </a:extLst>
              </a:tr>
              <a:tr h="4099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4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Power BI Premium 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1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5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                                 30,215 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4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8,2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-2,01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-7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707650"/>
                  </a:ext>
                </a:extLst>
              </a:tr>
              <a:tr h="20853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5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Power BI Pro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RSC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0.2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23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62,48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225,6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236,88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51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0308722"/>
                  </a:ext>
                </a:extLst>
              </a:tr>
              <a:tr h="208536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Store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8638654"/>
                  </a:ext>
                </a:extLst>
              </a:tr>
              <a:tr h="208536">
                <a:tc gridSpan="13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Infrastructure Services – RM 467,438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0709451"/>
                  </a:ext>
                </a:extLst>
              </a:tr>
              <a:tr h="20853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AD Connect</a:t>
                      </a:r>
                      <a:endParaRPr lang="en-MY"/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 serv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 serv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3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100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352282"/>
                  </a:ext>
                </a:extLst>
              </a:tr>
              <a:tr h="177239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MY" sz="11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E7CC"/>
                        </a:highlight>
                        <a:latin typeface="+mn-lt"/>
                      </a:endParaRP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  <a:endParaRPr lang="en-MY"/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erver/year) 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7078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852610"/>
                  </a:ext>
                </a:extLst>
              </a:tr>
              <a:tr h="7344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7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SPAN Support Management (Est.12% of license cost)</a:t>
                      </a:r>
                      <a:endParaRPr lang="en-MY" dirty="0"/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All us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All us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N/A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211,83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211,83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100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606513"/>
                  </a:ext>
                </a:extLst>
              </a:tr>
              <a:tr h="367612">
                <a:tc gridSpan="6"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TOTAL ON GOING COST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1,523,68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,007,15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C000"/>
                          </a:highlight>
                          <a:latin typeface="+mn-lt"/>
                        </a:rPr>
                        <a:t>+483,472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C000"/>
                          </a:highlight>
                          <a:latin typeface="+mn-lt"/>
                        </a:rPr>
                        <a:t>+32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66991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5D28CE3-16E2-26D6-03FD-81C65A5A86EB}"/>
              </a:ext>
            </a:extLst>
          </p:cNvPr>
          <p:cNvSpPr txBox="1"/>
          <p:nvPr/>
        </p:nvSpPr>
        <p:spPr>
          <a:xfrm>
            <a:off x="334963" y="6110693"/>
            <a:ext cx="10610850" cy="339132"/>
          </a:xfrm>
          <a:prstGeom prst="rect">
            <a:avLst/>
          </a:prstGeom>
          <a:noFill/>
          <a:ln w="25400">
            <a:noFill/>
          </a:ln>
        </p:spPr>
        <p:txBody>
          <a:bodyPr wrap="square" tIns="91440" bIns="9144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100" b="1" i="1" dirty="0"/>
              <a:t>Note: </a:t>
            </a:r>
            <a:r>
              <a:rPr lang="en-US" sz="1100" dirty="0"/>
              <a:t>Migrate all RSC users from M365 E3 to M365 E5 but retain O365 E1 (Store) license and outsource Security Operations to External Vendor</a:t>
            </a:r>
            <a:endParaRPr lang="en-MY" sz="11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E47DB2-6504-D7C4-0373-04F5CE696F9B}"/>
              </a:ext>
            </a:extLst>
          </p:cNvPr>
          <p:cNvSpPr/>
          <p:nvPr/>
        </p:nvSpPr>
        <p:spPr>
          <a:xfrm>
            <a:off x="11057861" y="-5054"/>
            <a:ext cx="995214" cy="23365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WIP</a:t>
            </a:r>
            <a:endParaRPr lang="en-MY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74119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28473-CD29-DD49-3EC0-B3845C059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MY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1F81463-4601-13F3-CFDB-E778D63EEF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870750"/>
              </p:ext>
            </p:extLst>
          </p:nvPr>
        </p:nvGraphicFramePr>
        <p:xfrm>
          <a:off x="334963" y="1212980"/>
          <a:ext cx="11522076" cy="5437276"/>
        </p:xfrm>
        <a:graphic>
          <a:graphicData uri="http://schemas.openxmlformats.org/drawingml/2006/table">
            <a:tbl>
              <a:tblPr/>
              <a:tblGrid>
                <a:gridCol w="1134373">
                  <a:extLst>
                    <a:ext uri="{9D8B030D-6E8A-4147-A177-3AD203B41FA5}">
                      <a16:colId xmlns:a16="http://schemas.microsoft.com/office/drawing/2014/main" val="828832721"/>
                    </a:ext>
                  </a:extLst>
                </a:gridCol>
                <a:gridCol w="1134373">
                  <a:extLst>
                    <a:ext uri="{9D8B030D-6E8A-4147-A177-3AD203B41FA5}">
                      <a16:colId xmlns:a16="http://schemas.microsoft.com/office/drawing/2014/main" val="2156173920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3581359791"/>
                    </a:ext>
                  </a:extLst>
                </a:gridCol>
                <a:gridCol w="574496">
                  <a:extLst>
                    <a:ext uri="{9D8B030D-6E8A-4147-A177-3AD203B41FA5}">
                      <a16:colId xmlns:a16="http://schemas.microsoft.com/office/drawing/2014/main" val="957189892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1082219920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3726101237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3026738694"/>
                    </a:ext>
                  </a:extLst>
                </a:gridCol>
                <a:gridCol w="574496">
                  <a:extLst>
                    <a:ext uri="{9D8B030D-6E8A-4147-A177-3AD203B41FA5}">
                      <a16:colId xmlns:a16="http://schemas.microsoft.com/office/drawing/2014/main" val="1588769764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2518072154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2494039531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2267558478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1982467115"/>
                    </a:ext>
                  </a:extLst>
                </a:gridCol>
                <a:gridCol w="900482">
                  <a:extLst>
                    <a:ext uri="{9D8B030D-6E8A-4147-A177-3AD203B41FA5}">
                      <a16:colId xmlns:a16="http://schemas.microsoft.com/office/drawing/2014/main" val="2087131224"/>
                    </a:ext>
                  </a:extLst>
                </a:gridCol>
              </a:tblGrid>
              <a:tr h="20341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No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Description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BC0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No of User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Current  - Global Tenancy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No of User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To-Be - Own Tenancy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Comparison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1579631"/>
                  </a:ext>
                </a:extLst>
              </a:tr>
              <a:tr h="632052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FFBC0D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C0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) /user/month</a:t>
                      </a:r>
                    </a:p>
                  </a:txBody>
                  <a:tcPr marL="4858" marR="4858" marT="4858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) /user/year</a:t>
                      </a:r>
                    </a:p>
                  </a:txBody>
                  <a:tcPr marL="4858" marR="4858" marT="4858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Expenses /Year (RM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) /user/month</a:t>
                      </a:r>
                    </a:p>
                  </a:txBody>
                  <a:tcPr marL="4858" marR="4858" marT="4858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USD/user/year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Expenses /Year (RM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Difference (RM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Difference (%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519204"/>
                  </a:ext>
                </a:extLst>
              </a:tr>
              <a:tr h="290598">
                <a:tc gridSpan="13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Software Licenses – RM 1,765,320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6534226"/>
                  </a:ext>
                </a:extLst>
              </a:tr>
              <a:tr h="19615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M365 E5 (RSC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6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32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812,1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5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84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,285,9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473,7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58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201217"/>
                  </a:ext>
                </a:extLst>
              </a:tr>
              <a:tr h="180171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formation Workers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 5030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 5030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 5030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178264"/>
                  </a:ext>
                </a:extLst>
              </a:tr>
              <a:tr h="19615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O365 E1 (Store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4.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56.4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106032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1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1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25,6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119,56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113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65651"/>
                  </a:ext>
                </a:extLst>
              </a:tr>
              <a:tr h="203418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Deskless Worker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(SKU 5031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(SKU 5031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(SKU 5031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6433362"/>
                  </a:ext>
                </a:extLst>
              </a:tr>
              <a:tr h="2034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Mobile Device Mgt (RSC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12,8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112,8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100%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9236091"/>
                  </a:ext>
                </a:extLst>
              </a:tr>
              <a:tr h="2034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4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Power BI Premium 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1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5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                                 30,215 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4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8,2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-2,01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-7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2302"/>
                  </a:ext>
                </a:extLst>
              </a:tr>
              <a:tr h="20341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5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Power BI Pro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RSC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0.25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23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62,48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2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225,6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236,88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-51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38724"/>
                  </a:ext>
                </a:extLst>
              </a:tr>
              <a:tr h="203418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Store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4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2755583"/>
                  </a:ext>
                </a:extLst>
              </a:tr>
              <a:tr h="203418">
                <a:tc gridSpan="13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Infrastructure Services – RM 467,438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2361033"/>
                  </a:ext>
                </a:extLst>
              </a:tr>
              <a:tr h="19615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AD Connect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 serv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4 serv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3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3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100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155920"/>
                  </a:ext>
                </a:extLst>
              </a:tr>
              <a:tr h="174359"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erver/year) 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(SKU7078)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4625675"/>
                  </a:ext>
                </a:extLst>
              </a:tr>
              <a:tr h="49547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7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SPAN Support Management (Est.12% of license cost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All us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All users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N/A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211,83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211,83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+100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1548343"/>
                  </a:ext>
                </a:extLst>
              </a:tr>
              <a:tr h="3995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9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Security Service (ProofPoint)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8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8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6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225,6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225,6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100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2043141"/>
                  </a:ext>
                </a:extLst>
              </a:tr>
              <a:tr h="203418">
                <a:tc gridSpan="13">
                  <a:txBody>
                    <a:bodyPr/>
                    <a:lstStyle/>
                    <a:p>
                      <a:pPr algn="l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SecOps Services – RM 150,000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273426"/>
                  </a:ext>
                </a:extLst>
              </a:tr>
              <a:tr h="2034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External (Vendor)</a:t>
                      </a:r>
                    </a:p>
                  </a:txBody>
                  <a:tcPr marL="4858" marR="4858" marT="48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858" marT="48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Included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15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150,000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E7CC"/>
                          </a:highlight>
                          <a:latin typeface="+mn-lt"/>
                        </a:rPr>
                        <a:t>+100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963730"/>
                  </a:ext>
                </a:extLst>
              </a:tr>
              <a:tr h="232478">
                <a:tc gridSpan="6"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TOTAL ON GOING COST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1,523,687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MY" sz="11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 </a:t>
                      </a:r>
                    </a:p>
                  </a:txBody>
                  <a:tcPr marL="4858" marR="43718" marT="485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4E7"/>
                          </a:highlight>
                          <a:latin typeface="+mn-lt"/>
                        </a:rPr>
                        <a:t>2,382,758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4E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C000"/>
                          </a:highlight>
                          <a:latin typeface="+mn-lt"/>
                        </a:rPr>
                        <a:t>+859,072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MY" sz="11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C000"/>
                          </a:highlight>
                          <a:latin typeface="+mn-lt"/>
                        </a:rPr>
                        <a:t>+56%</a:t>
                      </a:r>
                    </a:p>
                  </a:txBody>
                  <a:tcPr marL="4858" marR="43718" marT="48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842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968684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ject Charter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342856165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5C38-535D-934E-0349-0150B64F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ject Charter</a:t>
            </a:r>
          </a:p>
        </p:txBody>
      </p:sp>
      <p:graphicFrame>
        <p:nvGraphicFramePr>
          <p:cNvPr id="6" name="Group 48">
            <a:extLst>
              <a:ext uri="{FF2B5EF4-FFF2-40B4-BE49-F238E27FC236}">
                <a16:creationId xmlns:a16="http://schemas.microsoft.com/office/drawing/2014/main" id="{16BF4DFF-06F0-7930-D27D-09252AA88AF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110683"/>
              </p:ext>
            </p:extLst>
          </p:nvPr>
        </p:nvGraphicFramePr>
        <p:xfrm>
          <a:off x="334962" y="978466"/>
          <a:ext cx="11522077" cy="5380476"/>
        </p:xfrm>
        <a:graphic>
          <a:graphicData uri="http://schemas.openxmlformats.org/drawingml/2006/table">
            <a:tbl>
              <a:tblPr/>
              <a:tblGrid>
                <a:gridCol w="2063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3221">
                  <a:extLst>
                    <a:ext uri="{9D8B030D-6E8A-4147-A177-3AD203B41FA5}">
                      <a16:colId xmlns:a16="http://schemas.microsoft.com/office/drawing/2014/main" val="3294785675"/>
                    </a:ext>
                  </a:extLst>
                </a:gridCol>
                <a:gridCol w="2063221">
                  <a:extLst>
                    <a:ext uri="{9D8B030D-6E8A-4147-A177-3AD203B41FA5}">
                      <a16:colId xmlns:a16="http://schemas.microsoft.com/office/drawing/2014/main" val="3634363057"/>
                    </a:ext>
                  </a:extLst>
                </a:gridCol>
                <a:gridCol w="2810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22402">
                  <a:extLst>
                    <a:ext uri="{9D8B030D-6E8A-4147-A177-3AD203B41FA5}">
                      <a16:colId xmlns:a16="http://schemas.microsoft.com/office/drawing/2014/main" val="4072702345"/>
                    </a:ext>
                  </a:extLst>
                </a:gridCol>
              </a:tblGrid>
              <a:tr h="491886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Opportunity Statement</a:t>
                      </a:r>
                    </a:p>
                  </a:txBody>
                  <a:tcPr marL="45720" marR="45720" marT="18289" marB="18289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Goals</a:t>
                      </a: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 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(What does success look like?)</a:t>
                      </a:r>
                    </a:p>
                  </a:txBody>
                  <a:tcPr marL="45720" marR="45720" marT="18289" marB="18289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Scope</a:t>
                      </a:r>
                    </a:p>
                  </a:txBody>
                  <a:tcPr marL="45720" marR="45720" marT="18289" marB="18289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5278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McD Malaysia is paying around RM2.5 million to Microsoft via Global IT billing as part of Global Technology Enterprise Services (GTES) with the minimum usage of the Microsoft product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Limitation of the system's capability due to restriction from the Global (direct licensee) regarding security and accessibility.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(We pay Ferrari but functionality like </a:t>
                      </a:r>
                      <a:r>
                        <a:rPr lang="en-US" sz="1200" b="0" dirty="0" err="1">
                          <a:latin typeface="+mn-lt"/>
                        </a:rPr>
                        <a:t>Kancil</a:t>
                      </a:r>
                      <a:r>
                        <a:rPr lang="en-US" sz="1200" b="0" dirty="0">
                          <a:latin typeface="+mn-lt"/>
                        </a:rPr>
                        <a:t>)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n-US" sz="1200" b="1" dirty="0">
                          <a:latin typeface="+mn-lt"/>
                        </a:rPr>
                        <a:t>The Company </a:t>
                      </a:r>
                      <a:r>
                        <a:rPr lang="en-US" sz="1200" b="0" dirty="0">
                          <a:latin typeface="+mn-lt"/>
                        </a:rPr>
                        <a:t>faced a few challenges in preparing the report or analyze the data as </a:t>
                      </a:r>
                      <a:r>
                        <a:rPr lang="en-US" sz="1200" dirty="0">
                          <a:latin typeface="+mn-lt"/>
                        </a:rPr>
                        <a:t>follows: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o not have proper 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collaboration platform.</a:t>
                      </a:r>
                      <a:endParaRPr lang="en-MY" sz="12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ssibility of 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making mistakes </a:t>
                      </a:r>
                      <a:r>
                        <a:rPr lang="en-MY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for analysis due to the data is not standardized. 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o not fully 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utilise the Microsoft functionality.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MY" sz="1200" b="1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45720" marR="45720" marT="45700" marB="45700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71450" lvl="0" indent="-17145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mary goal: </a:t>
                      </a:r>
                    </a:p>
                    <a:p>
                      <a:pPr marL="177800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lang="en-US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wn tenant and full ownership</a:t>
                      </a:r>
                      <a:endParaRPr lang="en-US" sz="1200" b="1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arget: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crease business efficiency as it can fully utilize the Microsoft product</a:t>
                      </a:r>
                    </a:p>
                    <a:p>
                      <a:pPr marL="180975" marR="0" lvl="0" indent="0" algn="l" defTabSz="769938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12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altLang="zh-TW" sz="12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condary Goal: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7780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lf-managed and gives cost benefit to the company</a:t>
                      </a:r>
                    </a:p>
                    <a:p>
                      <a:pPr marL="18097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arget: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8097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st avoidance as it will be managed internally</a:t>
                      </a:r>
                    </a:p>
                  </a:txBody>
                  <a:tcPr marL="45720" marR="45720" marT="45700" marB="45700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In-Scope: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oftware license under Microsoft </a:t>
                      </a:r>
                    </a:p>
                    <a:p>
                      <a:pPr marL="0" indent="0" algn="ctr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endParaRPr lang="en-US" sz="12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Out of Scope: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N/A</a:t>
                      </a:r>
                      <a:endParaRPr kumimoji="0" lang="en-US" altLang="zh-TW" sz="12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45720" marR="45720" marT="45700" marB="45700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295">
                <a:tc gridSpan="3"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Key Deliverables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Dependency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1509500"/>
                  </a:ext>
                </a:extLst>
              </a:tr>
              <a:tr h="441316">
                <a:tc gridSpan="3">
                  <a:txBody>
                    <a:bodyPr/>
                    <a:lstStyle/>
                    <a:p>
                      <a:pPr marL="115570" marR="0" lvl="0" indent="-115570" algn="l" defTabSz="769938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12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ailability of the Microsoft platforms in our platform</a:t>
                      </a:r>
                    </a:p>
                    <a:p>
                      <a:pPr marL="115570" marR="0" lvl="0" indent="-115570" algn="l" defTabSz="769938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12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company will use Microsoft365 E5 license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rowSpan="7"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Implementation of Firewall project (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CyberSecurity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 Initiatives)</a:t>
                      </a:r>
                    </a:p>
                    <a:p>
                      <a:endParaRPr lang="en-US" sz="1200" b="0" u="none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7" hMerge="1">
                  <a:txBody>
                    <a:bodyPr/>
                    <a:lstStyle/>
                    <a:p>
                      <a:endParaRPr lang="en-US" sz="1200" b="1" u="sng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5036937"/>
                  </a:ext>
                </a:extLst>
              </a:tr>
              <a:tr h="286031">
                <a:tc gridSpan="3"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Key Activities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3683096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Description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Stakeholders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Target Date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200" b="0" u="none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0893014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Formalize project team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3843803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Progress review meeting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9251374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Final “tollgate” prior testing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739205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Go-Live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1 Oct 2024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200" b="0" u="none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4006810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B8E338E-278A-3429-3D75-B78EB6C07EBE}"/>
              </a:ext>
            </a:extLst>
          </p:cNvPr>
          <p:cNvSpPr/>
          <p:nvPr/>
        </p:nvSpPr>
        <p:spPr>
          <a:xfrm>
            <a:off x="11150820" y="81811"/>
            <a:ext cx="860919" cy="381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WIP</a:t>
            </a:r>
            <a:endParaRPr lang="en-MY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903638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ject Team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964367679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75963-8D5E-E1AD-F197-2F6B3984C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ject Team: Roles &amp; Responsibilit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CC96FA-81D3-C5D7-A1E5-6B14AC28A5BC}"/>
              </a:ext>
            </a:extLst>
          </p:cNvPr>
          <p:cNvSpPr txBox="1"/>
          <p:nvPr/>
        </p:nvSpPr>
        <p:spPr>
          <a:xfrm>
            <a:off x="4724400" y="3200400"/>
            <a:ext cx="27432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Efficiency &amp; Category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13F42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" name="Group 9">
            <a:extLst>
              <a:ext uri="{FF2B5EF4-FFF2-40B4-BE49-F238E27FC236}">
                <a16:creationId xmlns:a16="http://schemas.microsoft.com/office/drawing/2014/main" id="{12B72359-E2C8-A675-5760-C6652544C1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1952998"/>
              </p:ext>
            </p:extLst>
          </p:nvPr>
        </p:nvGraphicFramePr>
        <p:xfrm>
          <a:off x="5240054" y="4327034"/>
          <a:ext cx="6771685" cy="967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67740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DnA</a:t>
                      </a: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Team Member: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guidance on project management framework and deliverables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monitor and review process performance before and after solution go-live including stabilization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recommend the best technology enabler based on consolidated requirement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develop and implement in-house solutions to support the operational team 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" name="Group 15">
            <a:extLst>
              <a:ext uri="{FF2B5EF4-FFF2-40B4-BE49-F238E27FC236}">
                <a16:creationId xmlns:a16="http://schemas.microsoft.com/office/drawing/2014/main" id="{BEB160C6-0F84-E555-2ED4-5EEFBC53A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960189"/>
              </p:ext>
            </p:extLst>
          </p:nvPr>
        </p:nvGraphicFramePr>
        <p:xfrm>
          <a:off x="5240057" y="5565342"/>
          <a:ext cx="6771685" cy="76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14389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eam Member (Dept/Section Name):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assist in getting data for analysis purpose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Involve in brainstorming sessions i.e. Fishbone Analysis, Root Causes Analysis, Etc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execute the improvement initiative as planned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Group 9">
            <a:extLst>
              <a:ext uri="{FF2B5EF4-FFF2-40B4-BE49-F238E27FC236}">
                <a16:creationId xmlns:a16="http://schemas.microsoft.com/office/drawing/2014/main" id="{E01B4061-C3B4-C758-555C-B2122C457A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582637"/>
              </p:ext>
            </p:extLst>
          </p:nvPr>
        </p:nvGraphicFramePr>
        <p:xfrm>
          <a:off x="5240055" y="1291942"/>
          <a:ext cx="6771685" cy="5943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8283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ject Sponsor: </a:t>
                      </a: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</a:rPr>
                        <a:t>Senior Leadership</a:t>
                      </a:r>
                      <a:endParaRPr kumimoji="0" lang="en-US" sz="1100" b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ponsor and support the team’s project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guidance relating to strategic vision, project requirements, expectations, and resolution.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F153FCAE-14A5-FE80-AE04-D95A69A7B7BB}"/>
              </a:ext>
            </a:extLst>
          </p:cNvPr>
          <p:cNvGrpSpPr/>
          <p:nvPr/>
        </p:nvGrpSpPr>
        <p:grpSpPr>
          <a:xfrm>
            <a:off x="616877" y="1215742"/>
            <a:ext cx="4365350" cy="5204684"/>
            <a:chOff x="594986" y="1221572"/>
            <a:chExt cx="4365350" cy="5204684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42673EB-C1C0-11A1-1C69-B0AFC6ABF8BB}"/>
                </a:ext>
              </a:extLst>
            </p:cNvPr>
            <p:cNvSpPr/>
            <p:nvPr/>
          </p:nvSpPr>
          <p:spPr>
            <a:xfrm>
              <a:off x="594986" y="1221572"/>
              <a:ext cx="4365350" cy="5204684"/>
            </a:xfrm>
            <a:prstGeom prst="triangle">
              <a:avLst/>
            </a:pr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MY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835F1A6-5AC7-F10A-9C12-C69029EF8F5D}"/>
                </a:ext>
              </a:extLst>
            </p:cNvPr>
            <p:cNvSpPr/>
            <p:nvPr/>
          </p:nvSpPr>
          <p:spPr>
            <a:xfrm>
              <a:off x="1409855" y="1326348"/>
              <a:ext cx="2837477" cy="616023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Project Sponsor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/>
                <a:t>Zaid</a:t>
              </a:r>
              <a:endParaRPr lang="en-MY" sz="1400" b="1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6EE131D-E7D7-6C1A-3D41-D47BF9C5B202}"/>
                </a:ext>
              </a:extLst>
            </p:cNvPr>
            <p:cNvSpPr/>
            <p:nvPr/>
          </p:nvSpPr>
          <p:spPr>
            <a:xfrm>
              <a:off x="1407414" y="2233637"/>
              <a:ext cx="2837477" cy="742807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8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Project Champion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Radzman (TS) &amp; Hazlan (</a:t>
              </a:r>
              <a:r>
                <a:rPr lang="en-US" sz="1400" b="1" dirty="0" err="1">
                  <a:solidFill>
                    <a:schemeClr val="tx1"/>
                  </a:solidFill>
                </a:rPr>
                <a:t>DnA</a:t>
              </a:r>
              <a:r>
                <a:rPr lang="en-US" sz="1400" b="1" dirty="0">
                  <a:solidFill>
                    <a:schemeClr val="tx1"/>
                  </a:solidFill>
                </a:rPr>
                <a:t>) &amp; Kian Hee</a:t>
              </a:r>
              <a:endParaRPr lang="en-MY" sz="1400" b="1" kern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CF463F2-193C-37EE-688B-B3E754142CD9}"/>
                </a:ext>
              </a:extLst>
            </p:cNvPr>
            <p:cNvSpPr/>
            <p:nvPr/>
          </p:nvSpPr>
          <p:spPr>
            <a:xfrm>
              <a:off x="1387268" y="3299602"/>
              <a:ext cx="2837477" cy="742807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16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Project Lead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Wil Son, Azimah (A)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7361F5A-D04D-C8EA-D950-DF499B46087A}"/>
                </a:ext>
              </a:extLst>
            </p:cNvPr>
            <p:cNvSpPr/>
            <p:nvPr/>
          </p:nvSpPr>
          <p:spPr>
            <a:xfrm>
              <a:off x="1426498" y="4410104"/>
              <a:ext cx="2837477" cy="742807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24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Team Member – </a:t>
              </a:r>
              <a:r>
                <a:rPr lang="en-US" sz="1400" b="1" kern="1200" dirty="0" err="1">
                  <a:solidFill>
                    <a:schemeClr val="tx1"/>
                  </a:solidFill>
                </a:rPr>
                <a:t>DnA</a:t>
              </a:r>
              <a:endParaRPr lang="en-US" sz="1400" b="1" kern="1200" dirty="0">
                <a:solidFill>
                  <a:schemeClr val="tx1"/>
                </a:solidFill>
              </a:endParaRP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Jag</a:t>
              </a:r>
              <a:endParaRPr lang="en-US" sz="1400" b="1" kern="12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7EB4118-324E-3745-2DAB-91A55906C97D}"/>
                </a:ext>
              </a:extLst>
            </p:cNvPr>
            <p:cNvSpPr/>
            <p:nvPr/>
          </p:nvSpPr>
          <p:spPr>
            <a:xfrm>
              <a:off x="1396518" y="5445884"/>
              <a:ext cx="2837477" cy="944438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32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Team Member – Digital &amp;IT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dirty="0">
                  <a:solidFill>
                    <a:schemeClr val="tx1"/>
                  </a:solidFill>
                </a:rPr>
                <a:t>Fairuz, Afiq Azmi</a:t>
              </a:r>
              <a:r>
                <a:rPr lang="en-US" sz="1400" b="1" kern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aphicFrame>
        <p:nvGraphicFramePr>
          <p:cNvPr id="16" name="Group 9">
            <a:extLst>
              <a:ext uri="{FF2B5EF4-FFF2-40B4-BE49-F238E27FC236}">
                <a16:creationId xmlns:a16="http://schemas.microsoft.com/office/drawing/2014/main" id="{E7EC5FE3-2B8C-5B22-53BB-3BE8D3FC03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455726"/>
              </p:ext>
            </p:extLst>
          </p:nvPr>
        </p:nvGraphicFramePr>
        <p:xfrm>
          <a:off x="5240054" y="2209249"/>
          <a:ext cx="6771685" cy="635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5032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ject Champion: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team members with inspirational, motivational support, and resources needed, as well as serve as an advocate for the project to ensure stakeholders are satisfied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Group 9">
            <a:extLst>
              <a:ext uri="{FF2B5EF4-FFF2-40B4-BE49-F238E27FC236}">
                <a16:creationId xmlns:a16="http://schemas.microsoft.com/office/drawing/2014/main" id="{88F89BF1-9F5C-C4B7-A5B6-CAB968D023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524418"/>
              </p:ext>
            </p:extLst>
          </p:nvPr>
        </p:nvGraphicFramePr>
        <p:xfrm>
          <a:off x="5240054" y="2956047"/>
          <a:ext cx="6771685" cy="12649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30997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ject Leader: </a:t>
                      </a: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coordinate with all team members on the project requirement and deliverable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guidance to the team members on matters relating to project assignment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the team members appropriate vision and goals of the project objective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ensure all team members address relevant issues within a specified time frame to meet respective objective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necessary data related to project benefit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validate and endorse the data on financial benefits   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474429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Title 5"/>
          <p:cNvSpPr>
            <a:spLocks noGrp="1"/>
          </p:cNvSpPr>
          <p:nvPr>
            <p:ph type="ctrTitle"/>
          </p:nvPr>
        </p:nvSpPr>
        <p:spPr>
          <a:xfrm>
            <a:off x="334963" y="651437"/>
            <a:ext cx="5230095" cy="5244538"/>
          </a:xfrm>
        </p:spPr>
        <p:txBody>
          <a:bodyPr anchor="t"/>
          <a:lstStyle/>
          <a:p>
            <a:pPr algn="r"/>
            <a:r>
              <a:rPr lang="en-US" dirty="0"/>
              <a:t>AGENDA</a:t>
            </a:r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4CD3F775-FA24-0B22-4D76-E15B7795621C}"/>
              </a:ext>
            </a:extLst>
          </p:cNvPr>
          <p:cNvSpPr txBox="1">
            <a:spLocks/>
          </p:cNvSpPr>
          <p:nvPr/>
        </p:nvSpPr>
        <p:spPr>
          <a:xfrm>
            <a:off x="6538452" y="680012"/>
            <a:ext cx="5318584" cy="4477457"/>
          </a:xfrm>
          <a:prstGeom prst="rect">
            <a:avLst/>
          </a:prstGeom>
        </p:spPr>
        <p:txBody>
          <a:bodyPr/>
          <a:lstStyle>
            <a:lvl1pPr marL="0" indent="0" algn="l" defTabSz="457178" rtl="0" eaLnBrk="1" latinLnBrk="0" hangingPunct="1">
              <a:spcBef>
                <a:spcPct val="20000"/>
              </a:spcBef>
              <a:buFontTx/>
              <a:buNone/>
              <a:defRPr sz="16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61925" indent="-261925" algn="l" defTabSz="457178" rtl="0" eaLnBrk="1" latinLnBrk="0" hangingPunct="1">
              <a:spcBef>
                <a:spcPct val="20000"/>
              </a:spcBef>
              <a:buFont typeface="Arial"/>
              <a:buChar char="•"/>
              <a:tabLst>
                <a:tab pos="92070" algn="l"/>
              </a:tabLst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47651" indent="-228589" algn="l" defTabSz="536548" rtl="0" eaLnBrk="1" latinLnBrk="0" hangingPunct="1">
              <a:spcBef>
                <a:spcPct val="20000"/>
              </a:spcBef>
              <a:buFont typeface="Courier New"/>
              <a:buChar char="o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3865" indent="-228589" algn="l" defTabSz="536548" rtl="0" eaLnBrk="1" latinLnBrk="0" hangingPunct="1">
              <a:spcBef>
                <a:spcPct val="20000"/>
              </a:spcBef>
              <a:buFont typeface="Wingdings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4829" indent="-228589" algn="l" defTabSz="615919" rtl="0" eaLnBrk="1" latinLnBrk="0" hangingPunct="1">
              <a:spcBef>
                <a:spcPct val="20000"/>
              </a:spcBef>
              <a:buFont typeface="Arial"/>
              <a:buChar char="»"/>
              <a:tabLst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474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MY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ckground and Objective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MY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urrent Limitation</a:t>
            </a:r>
            <a:endParaRPr kumimoji="0" lang="en-MY" sz="1800" b="1" i="0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1" i="0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Other market’s Offboarding Experience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Proposal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Project Charter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Project Team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Project Timeline 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Next Steps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MY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MY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Questions &amp; Answers (Q&amp;A)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A5F9373-2494-5832-7DC1-F6DFC8A3E248}"/>
              </a:ext>
            </a:extLst>
          </p:cNvPr>
          <p:cNvSpPr txBox="1">
            <a:spLocks/>
          </p:cNvSpPr>
          <p:nvPr/>
        </p:nvSpPr>
        <p:spPr bwMode="auto">
          <a:xfrm>
            <a:off x="5999821" y="696920"/>
            <a:ext cx="64008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defTabSz="457178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0" i="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ctr" defTabSz="457178" rtl="0" eaLnBrk="1" latinLnBrk="0" hangingPunct="1">
              <a:spcBef>
                <a:spcPct val="20000"/>
              </a:spcBef>
              <a:buFont typeface="Arial"/>
              <a:buNone/>
              <a:tabLst>
                <a:tab pos="92070" algn="l"/>
              </a:tabLst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19064" indent="0" algn="ctr" defTabSz="536548" rtl="0" eaLnBrk="1" latinLnBrk="0" hangingPunct="1">
              <a:spcBef>
                <a:spcPct val="20000"/>
              </a:spcBef>
              <a:buFont typeface="Courier New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95276" indent="0" algn="ctr" defTabSz="536548" rtl="0" eaLnBrk="1" latinLnBrk="0" hangingPunct="1">
              <a:spcBef>
                <a:spcPct val="20000"/>
              </a:spcBef>
              <a:buFont typeface="Wingdings" charset="2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76242" indent="0" algn="ctr" defTabSz="615919" rtl="0" eaLnBrk="1" latinLnBrk="0" hangingPunct="1">
              <a:spcBef>
                <a:spcPct val="20000"/>
              </a:spcBef>
              <a:buFont typeface="Arial"/>
              <a:buNone/>
              <a:tabLst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474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45717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</a:rPr>
              <a:t>1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</a:rPr>
              <a:t>2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</a:rPr>
              <a:t>4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5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6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7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8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</a:rPr>
              <a:t>9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327679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ject Timeline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139358397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32D67-41DF-6F08-B909-2F0935917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posed Project Timeline</a:t>
            </a:r>
          </a:p>
        </p:txBody>
      </p:sp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27DD9E31-CE0A-E1A0-B1B8-2417DAFEF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2538035"/>
              </p:ext>
            </p:extLst>
          </p:nvPr>
        </p:nvGraphicFramePr>
        <p:xfrm>
          <a:off x="660400" y="945083"/>
          <a:ext cx="11196638" cy="5061738"/>
        </p:xfrm>
        <a:graphic>
          <a:graphicData uri="http://schemas.openxmlformats.org/drawingml/2006/table">
            <a:tbl>
              <a:tblPr firstRow="1" bandRow="1"/>
              <a:tblGrid>
                <a:gridCol w="1597387">
                  <a:extLst>
                    <a:ext uri="{9D8B030D-6E8A-4147-A177-3AD203B41FA5}">
                      <a16:colId xmlns:a16="http://schemas.microsoft.com/office/drawing/2014/main" val="2872175458"/>
                    </a:ext>
                  </a:extLst>
                </a:gridCol>
                <a:gridCol w="1597387">
                  <a:extLst>
                    <a:ext uri="{9D8B030D-6E8A-4147-A177-3AD203B41FA5}">
                      <a16:colId xmlns:a16="http://schemas.microsoft.com/office/drawing/2014/main" val="802818335"/>
                    </a:ext>
                  </a:extLst>
                </a:gridCol>
                <a:gridCol w="1612316">
                  <a:extLst>
                    <a:ext uri="{9D8B030D-6E8A-4147-A177-3AD203B41FA5}">
                      <a16:colId xmlns:a16="http://schemas.microsoft.com/office/drawing/2014/main" val="3964497427"/>
                    </a:ext>
                  </a:extLst>
                </a:gridCol>
                <a:gridCol w="1597387">
                  <a:extLst>
                    <a:ext uri="{9D8B030D-6E8A-4147-A177-3AD203B41FA5}">
                      <a16:colId xmlns:a16="http://schemas.microsoft.com/office/drawing/2014/main" val="1265695509"/>
                    </a:ext>
                  </a:extLst>
                </a:gridCol>
                <a:gridCol w="1597387">
                  <a:extLst>
                    <a:ext uri="{9D8B030D-6E8A-4147-A177-3AD203B41FA5}">
                      <a16:colId xmlns:a16="http://schemas.microsoft.com/office/drawing/2014/main" val="4021480930"/>
                    </a:ext>
                  </a:extLst>
                </a:gridCol>
                <a:gridCol w="1597387">
                  <a:extLst>
                    <a:ext uri="{9D8B030D-6E8A-4147-A177-3AD203B41FA5}">
                      <a16:colId xmlns:a16="http://schemas.microsoft.com/office/drawing/2014/main" val="4037608527"/>
                    </a:ext>
                  </a:extLst>
                </a:gridCol>
                <a:gridCol w="1597387">
                  <a:extLst>
                    <a:ext uri="{9D8B030D-6E8A-4147-A177-3AD203B41FA5}">
                      <a16:colId xmlns:a16="http://schemas.microsoft.com/office/drawing/2014/main" val="981004585"/>
                    </a:ext>
                  </a:extLst>
                </a:gridCol>
              </a:tblGrid>
              <a:tr h="284534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spc="300" dirty="0">
                          <a:solidFill>
                            <a:schemeClr val="tx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684092"/>
                  </a:ext>
                </a:extLst>
              </a:tr>
              <a:tr h="2917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APR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MAY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JUN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JUL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AUG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SEP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457178" rtl="0" eaLnBrk="1" latinLnBrk="0" hangingPunct="1"/>
                      <a:r>
                        <a:rPr lang="en-US" sz="1400" b="1" kern="1200" spc="3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OCT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594516"/>
                  </a:ext>
                </a:extLst>
              </a:tr>
              <a:tr h="4421658"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spc="3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endParaRPr lang="en-US" sz="1400" b="1" kern="1200" spc="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6128090"/>
                  </a:ext>
                </a:extLst>
              </a:tr>
            </a:tbl>
          </a:graphicData>
        </a:graphic>
      </p:graphicFrame>
      <p:sp>
        <p:nvSpPr>
          <p:cNvPr id="5" name="Arrow: Pentagon 67">
            <a:extLst>
              <a:ext uri="{FF2B5EF4-FFF2-40B4-BE49-F238E27FC236}">
                <a16:creationId xmlns:a16="http://schemas.microsoft.com/office/drawing/2014/main" id="{87B46EC3-3585-4FD2-2D9B-7E1D3CD0DEBE}"/>
              </a:ext>
            </a:extLst>
          </p:cNvPr>
          <p:cNvSpPr/>
          <p:nvPr/>
        </p:nvSpPr>
        <p:spPr>
          <a:xfrm>
            <a:off x="660400" y="1746917"/>
            <a:ext cx="3096867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B953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FFFFFF"/>
                </a:solidFill>
                <a:latin typeface="+mj-lt"/>
              </a:rPr>
              <a:t>Discovery &amp; Assessmen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Arrow: Pentagon 67">
            <a:extLst>
              <a:ext uri="{FF2B5EF4-FFF2-40B4-BE49-F238E27FC236}">
                <a16:creationId xmlns:a16="http://schemas.microsoft.com/office/drawing/2014/main" id="{EA90EC98-29BC-4E12-60A9-A4D65322E328}"/>
              </a:ext>
            </a:extLst>
          </p:cNvPr>
          <p:cNvSpPr/>
          <p:nvPr/>
        </p:nvSpPr>
        <p:spPr>
          <a:xfrm>
            <a:off x="3857629" y="2860556"/>
            <a:ext cx="3207161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lanning &amp; Design</a:t>
            </a:r>
          </a:p>
        </p:txBody>
      </p:sp>
      <p:sp>
        <p:nvSpPr>
          <p:cNvPr id="7" name="Arrow: Pentagon 67">
            <a:extLst>
              <a:ext uri="{FF2B5EF4-FFF2-40B4-BE49-F238E27FC236}">
                <a16:creationId xmlns:a16="http://schemas.microsoft.com/office/drawing/2014/main" id="{DFA953DC-8C39-1107-FC02-2004A1B2DDF2}"/>
              </a:ext>
            </a:extLst>
          </p:cNvPr>
          <p:cNvSpPr/>
          <p:nvPr/>
        </p:nvSpPr>
        <p:spPr>
          <a:xfrm>
            <a:off x="5475768" y="3521301"/>
            <a:ext cx="3173467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glow rad="12700">
              <a:schemeClr val="accent1">
                <a:alpha val="40000"/>
              </a:schemeClr>
            </a:glow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eparation &amp; Testing</a:t>
            </a:r>
          </a:p>
        </p:txBody>
      </p:sp>
      <p:sp>
        <p:nvSpPr>
          <p:cNvPr id="8" name="Arrow: Pentagon 67">
            <a:extLst>
              <a:ext uri="{FF2B5EF4-FFF2-40B4-BE49-F238E27FC236}">
                <a16:creationId xmlns:a16="http://schemas.microsoft.com/office/drawing/2014/main" id="{E0F6C52B-AAFD-7FE2-F7AD-46A26511B4D1}"/>
              </a:ext>
            </a:extLst>
          </p:cNvPr>
          <p:cNvSpPr/>
          <p:nvPr/>
        </p:nvSpPr>
        <p:spPr>
          <a:xfrm>
            <a:off x="8649236" y="4608645"/>
            <a:ext cx="1597994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igrate</a:t>
            </a:r>
          </a:p>
        </p:txBody>
      </p:sp>
      <p:sp>
        <p:nvSpPr>
          <p:cNvPr id="9" name="Arrow: Pentagon 67">
            <a:extLst>
              <a:ext uri="{FF2B5EF4-FFF2-40B4-BE49-F238E27FC236}">
                <a16:creationId xmlns:a16="http://schemas.microsoft.com/office/drawing/2014/main" id="{96DF76F6-A1C3-4CA7-0B73-E9ECF5B0F81B}"/>
              </a:ext>
            </a:extLst>
          </p:cNvPr>
          <p:cNvSpPr/>
          <p:nvPr/>
        </p:nvSpPr>
        <p:spPr>
          <a:xfrm>
            <a:off x="10284021" y="5522128"/>
            <a:ext cx="1549195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t-Migrat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0BA3ABA-549B-2793-71DF-96168D2C55A3}"/>
              </a:ext>
            </a:extLst>
          </p:cNvPr>
          <p:cNvGrpSpPr/>
          <p:nvPr/>
        </p:nvGrpSpPr>
        <p:grpSpPr>
          <a:xfrm>
            <a:off x="10127569" y="945084"/>
            <a:ext cx="968374" cy="5031258"/>
            <a:chOff x="8120063" y="949101"/>
            <a:chExt cx="968374" cy="528490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64A66E0-051D-78C7-1BA7-980E21B104A1}"/>
                </a:ext>
              </a:extLst>
            </p:cNvPr>
            <p:cNvGrpSpPr/>
            <p:nvPr/>
          </p:nvGrpSpPr>
          <p:grpSpPr>
            <a:xfrm>
              <a:off x="8120063" y="949101"/>
              <a:ext cx="968374" cy="255255"/>
              <a:chOff x="6203957" y="1223314"/>
              <a:chExt cx="968374" cy="255255"/>
            </a:xfrm>
          </p:grpSpPr>
          <p:sp>
            <p:nvSpPr>
              <p:cNvPr id="13" name="Star: 5 Points 12">
                <a:extLst>
                  <a:ext uri="{FF2B5EF4-FFF2-40B4-BE49-F238E27FC236}">
                    <a16:creationId xmlns:a16="http://schemas.microsoft.com/office/drawing/2014/main" id="{2F0ED3B3-81F9-29AF-1FDB-3E04E0033694}"/>
                  </a:ext>
                </a:extLst>
              </p:cNvPr>
              <p:cNvSpPr/>
              <p:nvPr/>
            </p:nvSpPr>
            <p:spPr>
              <a:xfrm>
                <a:off x="6203957" y="1223314"/>
                <a:ext cx="255255" cy="255255"/>
              </a:xfrm>
              <a:prstGeom prst="star5">
                <a:avLst/>
              </a:prstGeom>
              <a:solidFill>
                <a:srgbClr val="FFC000"/>
              </a:solidFill>
              <a:ln w="9525" cap="flat" cmpd="sng" algn="ctr">
                <a:solidFill>
                  <a:schemeClr val="accent6"/>
                </a:solidFill>
                <a:prstDash val="solid"/>
                <a:miter lim="800000"/>
              </a:ln>
              <a:effectLst/>
            </p:spPr>
            <p:txBody>
              <a:bodyPr tIns="91440" bIns="9144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73475F8-AF47-0DD1-94CE-55D836414922}"/>
                  </a:ext>
                </a:extLst>
              </p:cNvPr>
              <p:cNvSpPr/>
              <p:nvPr/>
            </p:nvSpPr>
            <p:spPr>
              <a:xfrm>
                <a:off x="6385592" y="1272427"/>
                <a:ext cx="786739" cy="157502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Ins="0" rtlCol="0" anchor="ctr"/>
              <a:lstStyle/>
              <a:p>
                <a:pPr defTabSz="914400">
                  <a:defRPr/>
                </a:pPr>
                <a:r>
                  <a:rPr lang="en-MY" sz="1300" b="1" kern="0" dirty="0">
                    <a:solidFill>
                      <a:prstClr val="black"/>
                    </a:solidFill>
                  </a:rPr>
                  <a:t>GO-LIVE</a:t>
                </a: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EA8A01E-BCE5-5072-2483-7D86F289F039}"/>
                </a:ext>
              </a:extLst>
            </p:cNvPr>
            <p:cNvCxnSpPr>
              <a:cxnSpLocks/>
            </p:cNvCxnSpPr>
            <p:nvPr/>
          </p:nvCxnSpPr>
          <p:spPr>
            <a:xfrm>
              <a:off x="8245632" y="1195470"/>
              <a:ext cx="0" cy="5038537"/>
            </a:xfrm>
            <a:prstGeom prst="line">
              <a:avLst/>
            </a:prstGeom>
            <a:ln w="28575">
              <a:solidFill>
                <a:srgbClr val="FF0000"/>
              </a:solidFill>
              <a:prstDash val="sysDash"/>
            </a:ln>
            <a:effectLst/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2B82446-BC9D-A0D7-6F22-2D15B200175B}"/>
              </a:ext>
            </a:extLst>
          </p:cNvPr>
          <p:cNvGrpSpPr/>
          <p:nvPr/>
        </p:nvGrpSpPr>
        <p:grpSpPr>
          <a:xfrm>
            <a:off x="3038476" y="922090"/>
            <a:ext cx="501215" cy="5054251"/>
            <a:chOff x="2566211" y="818138"/>
            <a:chExt cx="501215" cy="578978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1267987-321B-3530-6724-31002E0009DF}"/>
                </a:ext>
              </a:extLst>
            </p:cNvPr>
            <p:cNvCxnSpPr>
              <a:cxnSpLocks/>
            </p:cNvCxnSpPr>
            <p:nvPr/>
          </p:nvCxnSpPr>
          <p:spPr>
            <a:xfrm>
              <a:off x="2816151" y="1042336"/>
              <a:ext cx="0" cy="5565586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pic>
          <p:nvPicPr>
            <p:cNvPr id="16" name="Graphic 15" descr="Marker with solid fill">
              <a:extLst>
                <a:ext uri="{FF2B5EF4-FFF2-40B4-BE49-F238E27FC236}">
                  <a16:creationId xmlns:a16="http://schemas.microsoft.com/office/drawing/2014/main" id="{DDEEAD06-9E49-0A8E-DD8B-090EC9115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6211" y="818138"/>
              <a:ext cx="501215" cy="44839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CED78DE-F7F2-6817-4745-356FD7CFF19B}"/>
              </a:ext>
            </a:extLst>
          </p:cNvPr>
          <p:cNvGrpSpPr/>
          <p:nvPr/>
        </p:nvGrpSpPr>
        <p:grpSpPr>
          <a:xfrm>
            <a:off x="10146619" y="5004246"/>
            <a:ext cx="2108419" cy="356258"/>
            <a:chOff x="1167357" y="3632719"/>
            <a:chExt cx="2108419" cy="356258"/>
          </a:xfrm>
        </p:grpSpPr>
        <p:sp>
          <p:nvSpPr>
            <p:cNvPr id="25" name="Diamond 24">
              <a:extLst>
                <a:ext uri="{FF2B5EF4-FFF2-40B4-BE49-F238E27FC236}">
                  <a16:creationId xmlns:a16="http://schemas.microsoft.com/office/drawing/2014/main" id="{9D93B380-BBFA-3ED7-83B6-8EEA2B76532B}"/>
                </a:ext>
              </a:extLst>
            </p:cNvPr>
            <p:cNvSpPr/>
            <p:nvPr/>
          </p:nvSpPr>
          <p:spPr>
            <a:xfrm>
              <a:off x="1167357" y="3689869"/>
              <a:ext cx="228600" cy="228600"/>
            </a:xfrm>
            <a:prstGeom prst="diamond">
              <a:avLst/>
            </a:prstGeom>
            <a:solidFill>
              <a:srgbClr val="007CC4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3C3835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" name="2/19/2019 10:58:36 AM1">
              <a:extLst>
                <a:ext uri="{FF2B5EF4-FFF2-40B4-BE49-F238E27FC236}">
                  <a16:creationId xmlns:a16="http://schemas.microsoft.com/office/drawing/2014/main" id="{D1B056DC-54B6-3262-7778-BC9E70604C71}"/>
                </a:ext>
              </a:extLst>
            </p:cNvPr>
            <p:cNvSpPr/>
            <p:nvPr/>
          </p:nvSpPr>
          <p:spPr>
            <a:xfrm>
              <a:off x="1416147" y="3632719"/>
              <a:ext cx="1859629" cy="356258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413F42"/>
                  </a:solidFill>
                  <a:effectLst/>
                  <a:uLnTx/>
                  <a:uFillTx/>
                  <a:ea typeface="+mn-ea"/>
                  <a:cs typeface="+mn-cs"/>
                </a:rPr>
                <a:t>Go-Live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413F42"/>
                  </a:solidFill>
                  <a:effectLst/>
                  <a:uLnTx/>
                  <a:uFillTx/>
                  <a:ea typeface="+mn-ea"/>
                  <a:cs typeface="+mn-cs"/>
                </a:rPr>
                <a:t>Announcement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0D7A817-E148-AE31-A617-88C0452A640A}"/>
              </a:ext>
            </a:extLst>
          </p:cNvPr>
          <p:cNvGrpSpPr/>
          <p:nvPr/>
        </p:nvGrpSpPr>
        <p:grpSpPr>
          <a:xfrm>
            <a:off x="3532952" y="2148601"/>
            <a:ext cx="2096960" cy="608872"/>
            <a:chOff x="3275777" y="3659613"/>
            <a:chExt cx="2096960" cy="608872"/>
          </a:xfrm>
        </p:grpSpPr>
        <p:sp>
          <p:nvSpPr>
            <p:cNvPr id="28" name="2/19/2019 10:58:36 AM1">
              <a:extLst>
                <a:ext uri="{FF2B5EF4-FFF2-40B4-BE49-F238E27FC236}">
                  <a16:creationId xmlns:a16="http://schemas.microsoft.com/office/drawing/2014/main" id="{C97AFE54-400B-7EFD-0DCB-55055120D0EE}"/>
                </a:ext>
              </a:extLst>
            </p:cNvPr>
            <p:cNvSpPr/>
            <p:nvPr/>
          </p:nvSpPr>
          <p:spPr>
            <a:xfrm>
              <a:off x="3555892" y="3659613"/>
              <a:ext cx="1816845" cy="608872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</a:rPr>
                <a:t>Management Approval on the Business Case</a:t>
              </a:r>
            </a:p>
          </p:txBody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7772A79B-0354-364D-8CA1-A6994CAD0F2C}"/>
                </a:ext>
              </a:extLst>
            </p:cNvPr>
            <p:cNvSpPr/>
            <p:nvPr/>
          </p:nvSpPr>
          <p:spPr>
            <a:xfrm>
              <a:off x="3275777" y="3816677"/>
              <a:ext cx="228600" cy="228600"/>
            </a:xfrm>
            <a:prstGeom prst="triangle">
              <a:avLst/>
            </a:prstGeom>
            <a:solidFill>
              <a:srgbClr val="9900CC"/>
            </a:solidFill>
            <a:ln>
              <a:solidFill>
                <a:srgbClr val="99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3835"/>
                </a:solidFill>
                <a:effectLst/>
                <a:uLnTx/>
                <a:uFillTx/>
                <a:latin typeface="Museo Sans 300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474AF5A-F1D3-8C05-97A2-B3E9C6062B5A}"/>
              </a:ext>
            </a:extLst>
          </p:cNvPr>
          <p:cNvGrpSpPr/>
          <p:nvPr/>
        </p:nvGrpSpPr>
        <p:grpSpPr>
          <a:xfrm>
            <a:off x="8553376" y="4007932"/>
            <a:ext cx="2108419" cy="356258"/>
            <a:chOff x="1167357" y="3632719"/>
            <a:chExt cx="2108419" cy="356258"/>
          </a:xfrm>
        </p:grpSpPr>
        <p:sp>
          <p:nvSpPr>
            <p:cNvPr id="35" name="Diamond 34">
              <a:extLst>
                <a:ext uri="{FF2B5EF4-FFF2-40B4-BE49-F238E27FC236}">
                  <a16:creationId xmlns:a16="http://schemas.microsoft.com/office/drawing/2014/main" id="{02F56446-629D-7725-C577-8565D72EF0B7}"/>
                </a:ext>
              </a:extLst>
            </p:cNvPr>
            <p:cNvSpPr/>
            <p:nvPr/>
          </p:nvSpPr>
          <p:spPr>
            <a:xfrm>
              <a:off x="1167357" y="3689869"/>
              <a:ext cx="228600" cy="228600"/>
            </a:xfrm>
            <a:prstGeom prst="diamond">
              <a:avLst/>
            </a:prstGeom>
            <a:solidFill>
              <a:srgbClr val="007CC4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3C3835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2/19/2019 10:58:36 AM1">
              <a:extLst>
                <a:ext uri="{FF2B5EF4-FFF2-40B4-BE49-F238E27FC236}">
                  <a16:creationId xmlns:a16="http://schemas.microsoft.com/office/drawing/2014/main" id="{C3349844-E85A-E01B-4236-7AB31B09A86C}"/>
                </a:ext>
              </a:extLst>
            </p:cNvPr>
            <p:cNvSpPr/>
            <p:nvPr/>
          </p:nvSpPr>
          <p:spPr>
            <a:xfrm>
              <a:off x="1416147" y="3632719"/>
              <a:ext cx="1859629" cy="356258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413F42"/>
                  </a:solidFill>
                  <a:effectLst/>
                  <a:uLnTx/>
                  <a:uFillTx/>
                  <a:ea typeface="+mn-ea"/>
                  <a:cs typeface="+mn-cs"/>
                </a:rPr>
                <a:t>Announcement for system cut-off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7F2CF39-D8CB-C861-7FD7-2E10D7697364}"/>
              </a:ext>
            </a:extLst>
          </p:cNvPr>
          <p:cNvGrpSpPr/>
          <p:nvPr/>
        </p:nvGrpSpPr>
        <p:grpSpPr>
          <a:xfrm>
            <a:off x="10661795" y="19317"/>
            <a:ext cx="1900237" cy="757347"/>
            <a:chOff x="10835482" y="31086"/>
            <a:chExt cx="1900237" cy="757347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BC56556-2759-E757-B100-42C6D1B114A5}"/>
                </a:ext>
              </a:extLst>
            </p:cNvPr>
            <p:cNvGrpSpPr/>
            <p:nvPr/>
          </p:nvGrpSpPr>
          <p:grpSpPr>
            <a:xfrm>
              <a:off x="10935859" y="271860"/>
              <a:ext cx="1245981" cy="341264"/>
              <a:chOff x="10935859" y="271860"/>
              <a:chExt cx="1245981" cy="297004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E6E30E8-C4E5-F00A-DAF1-5BCFDFFD8792}"/>
                  </a:ext>
                </a:extLst>
              </p:cNvPr>
              <p:cNvSpPr txBox="1"/>
              <p:nvPr/>
            </p:nvSpPr>
            <p:spPr>
              <a:xfrm>
                <a:off x="11052129" y="271860"/>
                <a:ext cx="1129711" cy="297004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tIns="91440" bIns="91440" rtlCol="0">
                <a:sp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n-MY" sz="800" dirty="0"/>
                  <a:t>Communication</a:t>
                </a:r>
              </a:p>
            </p:txBody>
          </p:sp>
          <p:sp>
            <p:nvSpPr>
              <p:cNvPr id="18" name="Diamond 17">
                <a:extLst>
                  <a:ext uri="{FF2B5EF4-FFF2-40B4-BE49-F238E27FC236}">
                    <a16:creationId xmlns:a16="http://schemas.microsoft.com/office/drawing/2014/main" id="{943EABD9-E689-C4EC-5393-D6E1FEB3655F}"/>
                  </a:ext>
                </a:extLst>
              </p:cNvPr>
              <p:cNvSpPr/>
              <p:nvPr/>
            </p:nvSpPr>
            <p:spPr>
              <a:xfrm>
                <a:off x="10935859" y="332820"/>
                <a:ext cx="144000" cy="144000"/>
              </a:xfrm>
              <a:prstGeom prst="diamond">
                <a:avLst/>
              </a:prstGeom>
              <a:solidFill>
                <a:srgbClr val="007CC4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C3835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9DFD876-8B70-2FFE-1479-B31908A46089}"/>
                </a:ext>
              </a:extLst>
            </p:cNvPr>
            <p:cNvGrpSpPr/>
            <p:nvPr/>
          </p:nvGrpSpPr>
          <p:grpSpPr>
            <a:xfrm>
              <a:off x="10930278" y="491429"/>
              <a:ext cx="1271882" cy="297004"/>
              <a:chOff x="10930278" y="491429"/>
              <a:chExt cx="1271882" cy="297004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16D75F4-106D-F670-27F6-A28CC9F3DC65}"/>
                  </a:ext>
                </a:extLst>
              </p:cNvPr>
              <p:cNvSpPr txBox="1"/>
              <p:nvPr/>
            </p:nvSpPr>
            <p:spPr>
              <a:xfrm>
                <a:off x="11072449" y="491429"/>
                <a:ext cx="1129711" cy="297004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tIns="91440" bIns="91440" rtlCol="0">
                <a:sp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n-MY" sz="800" dirty="0"/>
                  <a:t>Event</a:t>
                </a:r>
              </a:p>
            </p:txBody>
          </p:sp>
          <p:sp>
            <p:nvSpPr>
              <p:cNvPr id="19" name="Isosceles Triangle 18">
                <a:extLst>
                  <a:ext uri="{FF2B5EF4-FFF2-40B4-BE49-F238E27FC236}">
                    <a16:creationId xmlns:a16="http://schemas.microsoft.com/office/drawing/2014/main" id="{18346B05-8513-57D7-CB65-1FE8503C7845}"/>
                  </a:ext>
                </a:extLst>
              </p:cNvPr>
              <p:cNvSpPr/>
              <p:nvPr/>
            </p:nvSpPr>
            <p:spPr>
              <a:xfrm>
                <a:off x="10930278" y="565897"/>
                <a:ext cx="144000" cy="108000"/>
              </a:xfrm>
              <a:prstGeom prst="triangle">
                <a:avLst/>
              </a:prstGeom>
              <a:solidFill>
                <a:srgbClr val="9900CC"/>
              </a:solidFill>
              <a:ln>
                <a:solidFill>
                  <a:srgbClr val="99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C3835"/>
                  </a:solidFill>
                  <a:effectLst/>
                  <a:uLnTx/>
                  <a:uFillTx/>
                  <a:latin typeface="Museo Sans 300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3F7263E-B3B9-E7C6-A04A-00EA82C27227}"/>
                </a:ext>
              </a:extLst>
            </p:cNvPr>
            <p:cNvSpPr txBox="1"/>
            <p:nvPr/>
          </p:nvSpPr>
          <p:spPr>
            <a:xfrm>
              <a:off x="10835482" y="31086"/>
              <a:ext cx="1900237" cy="311047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square" tIns="91440" bIns="91440" rtlCol="0">
              <a:sp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</a:pPr>
              <a:r>
                <a:rPr lang="en-MY" sz="900" b="1" dirty="0"/>
                <a:t>Legend: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540AE58E-6475-EDD2-3930-DA0DE65D8AEF}"/>
              </a:ext>
            </a:extLst>
          </p:cNvPr>
          <p:cNvSpPr txBox="1"/>
          <p:nvPr/>
        </p:nvSpPr>
        <p:spPr>
          <a:xfrm>
            <a:off x="588319" y="6056471"/>
            <a:ext cx="7184083" cy="353110"/>
          </a:xfrm>
          <a:prstGeom prst="rect">
            <a:avLst/>
          </a:prstGeom>
          <a:noFill/>
          <a:ln w="25400">
            <a:noFill/>
          </a:ln>
        </p:spPr>
        <p:txBody>
          <a:bodyPr wrap="square" tIns="91440" bIns="91440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MY" sz="1200" b="1" i="1" dirty="0"/>
              <a:t>Note: </a:t>
            </a:r>
            <a:r>
              <a:rPr lang="en-MY" sz="1200" dirty="0"/>
              <a:t>Pre-Requisite requirement before Migration is Firewall project to Go-Live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3CEF93E-BC3E-3015-3985-E081AD6F02F0}"/>
              </a:ext>
            </a:extLst>
          </p:cNvPr>
          <p:cNvSpPr/>
          <p:nvPr/>
        </p:nvSpPr>
        <p:spPr>
          <a:xfrm>
            <a:off x="9677456" y="104134"/>
            <a:ext cx="860919" cy="381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WIP</a:t>
            </a:r>
            <a:endParaRPr lang="en-MY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92244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Next Steps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33025313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32D67-41DF-6F08-B909-2F0935917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Next Step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E21EF0-841F-DDAD-6744-92193F1F681A}"/>
              </a:ext>
            </a:extLst>
          </p:cNvPr>
          <p:cNvSpPr txBox="1"/>
          <p:nvPr/>
        </p:nvSpPr>
        <p:spPr>
          <a:xfrm>
            <a:off x="853440" y="1463040"/>
            <a:ext cx="8300720" cy="1914691"/>
          </a:xfrm>
          <a:prstGeom prst="rect">
            <a:avLst/>
          </a:prstGeom>
          <a:noFill/>
          <a:ln w="25400">
            <a:noFill/>
          </a:ln>
        </p:spPr>
        <p:txBody>
          <a:bodyPr wrap="square" tIns="91440" bIns="91440" rtlCol="0">
            <a:spAutoFit/>
          </a:bodyPr>
          <a:lstStyle/>
          <a:p>
            <a:pPr marL="342900" indent="-342900" algn="l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dirty="0"/>
              <a:t>Recalibrate the costs of those proposals including those related to Global.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dirty="0"/>
              <a:t>To prepare the proposal deck for management approval.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dirty="0"/>
              <a:t>Present and get approval from the Management Team.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</a:pPr>
            <a:endParaRPr lang="en-MY" dirty="0" err="1"/>
          </a:p>
        </p:txBody>
      </p:sp>
    </p:spTree>
    <p:extLst>
      <p:ext uri="{BB962C8B-B14F-4D97-AF65-F5344CB8AC3E}">
        <p14:creationId xmlns:p14="http://schemas.microsoft.com/office/powerpoint/2010/main" val="154990347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Questions &amp; Answers (Q&amp;A)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50987690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B945D82F-05D6-4684-B68F-A5FC160D3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6175085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5756550-34FE-F0A1-6FFC-6BD9C24AC4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582694"/>
              </p:ext>
            </p:extLst>
          </p:nvPr>
        </p:nvGraphicFramePr>
        <p:xfrm>
          <a:off x="558800" y="930127"/>
          <a:ext cx="11013441" cy="53783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395">
                  <a:extLst>
                    <a:ext uri="{9D8B030D-6E8A-4147-A177-3AD203B41FA5}">
                      <a16:colId xmlns:a16="http://schemas.microsoft.com/office/drawing/2014/main" val="259848298"/>
                    </a:ext>
                  </a:extLst>
                </a:gridCol>
                <a:gridCol w="2793155">
                  <a:extLst>
                    <a:ext uri="{9D8B030D-6E8A-4147-A177-3AD203B41FA5}">
                      <a16:colId xmlns:a16="http://schemas.microsoft.com/office/drawing/2014/main" val="1505482110"/>
                    </a:ext>
                  </a:extLst>
                </a:gridCol>
                <a:gridCol w="3148114">
                  <a:extLst>
                    <a:ext uri="{9D8B030D-6E8A-4147-A177-3AD203B41FA5}">
                      <a16:colId xmlns:a16="http://schemas.microsoft.com/office/drawing/2014/main" val="2910240108"/>
                    </a:ext>
                  </a:extLst>
                </a:gridCol>
                <a:gridCol w="2247089">
                  <a:extLst>
                    <a:ext uri="{9D8B030D-6E8A-4147-A177-3AD203B41FA5}">
                      <a16:colId xmlns:a16="http://schemas.microsoft.com/office/drawing/2014/main" val="130687893"/>
                    </a:ext>
                  </a:extLst>
                </a:gridCol>
                <a:gridCol w="2233688">
                  <a:extLst>
                    <a:ext uri="{9D8B030D-6E8A-4147-A177-3AD203B41FA5}">
                      <a16:colId xmlns:a16="http://schemas.microsoft.com/office/drawing/2014/main" val="425437577"/>
                    </a:ext>
                  </a:extLst>
                </a:gridCol>
              </a:tblGrid>
              <a:tr h="39975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o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eatures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Produ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rporate Tenant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wn Tenant</a:t>
                      </a:r>
                      <a:endParaRPr lang="en-MY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2162238"/>
                  </a:ext>
                </a:extLst>
              </a:tr>
              <a:tr h="76562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Microsoft Office Apps</a:t>
                      </a:r>
                    </a:p>
                    <a:p>
                      <a:pPr marL="0" indent="182563">
                        <a:buFont typeface="Arial" panose="020B0604020202020204" pitchFamily="34" charset="0"/>
                        <a:buNone/>
                      </a:pP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Power B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Power App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Power Autom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Limited features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Features</a:t>
                      </a:r>
                      <a:endParaRPr lang="en-MY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372490"/>
                  </a:ext>
                </a:extLst>
              </a:tr>
              <a:tr h="79533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.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mail &amp; Calendar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Outlook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Exchan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Book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Full features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features</a:t>
                      </a:r>
                      <a:endParaRPr lang="en-MY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0483743"/>
                  </a:ext>
                </a:extLst>
              </a:tr>
              <a:tr h="57539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.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400" dirty="0"/>
                        <a:t>Meetings &amp; Vo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T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Limited features without recor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features</a:t>
                      </a:r>
                      <a:endParaRPr lang="en-MY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0027087"/>
                  </a:ext>
                </a:extLst>
              </a:tr>
              <a:tr h="772398"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400" dirty="0"/>
                        <a:t>Social &amp; Intra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SharePo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Access: Read Onl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Unable to create own SharePo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2398692"/>
                  </a:ext>
                </a:extLst>
              </a:tr>
              <a:tr h="559679"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400"/>
                        <a:t>One Drive/Forms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OneDri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Fo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MY" sz="1400" dirty="0"/>
                        <a:t>Do not have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2820396"/>
                  </a:ext>
                </a:extLst>
              </a:tr>
              <a:tr h="559679"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400" dirty="0"/>
                        <a:t>Advanced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Power BI Pr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Viva Ins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MY" sz="1400" dirty="0"/>
                        <a:t>Do not have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2044352"/>
                  </a:ext>
                </a:extLst>
              </a:tr>
              <a:tr h="950458"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7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400" dirty="0"/>
                        <a:t>Identify, Access Management and Security &amp; Information Prot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dirty="0"/>
                        <a:t>Microsoft Access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MY" sz="1400" dirty="0"/>
                        <a:t>Limited 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9681994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B32D67-41DF-6F08-B909-2F0935917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/>
              <a:t>Functionality Comparison</a:t>
            </a:r>
            <a:endParaRPr lang="en-MY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8A4F98-7194-8790-B859-2413A273D3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43161" y="425632"/>
            <a:ext cx="7961591" cy="4230188"/>
          </a:xfrm>
          <a:prstGeom prst="rect">
            <a:avLst/>
          </a:prstGeom>
        </p:spPr>
      </p:pic>
      <p:pic>
        <p:nvPicPr>
          <p:cNvPr id="6" name="Graphic 5" descr="Home outline">
            <a:hlinkClick r:id="rId3" action="ppaction://hlinksldjump"/>
            <a:extLst>
              <a:ext uri="{FF2B5EF4-FFF2-40B4-BE49-F238E27FC236}">
                <a16:creationId xmlns:a16="http://schemas.microsoft.com/office/drawing/2014/main" id="{D7B109C8-3D89-A199-49FF-EF8566A685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42543" y="18327"/>
            <a:ext cx="407555" cy="407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69126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61F15EB-6FFB-7EA0-B004-245DF7D873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4347185"/>
              </p:ext>
            </p:extLst>
          </p:nvPr>
        </p:nvGraphicFramePr>
        <p:xfrm>
          <a:off x="552450" y="1133475"/>
          <a:ext cx="10772774" cy="37468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1969">
                  <a:extLst>
                    <a:ext uri="{9D8B030D-6E8A-4147-A177-3AD203B41FA5}">
                      <a16:colId xmlns:a16="http://schemas.microsoft.com/office/drawing/2014/main" val="788464829"/>
                    </a:ext>
                  </a:extLst>
                </a:gridCol>
                <a:gridCol w="1939975">
                  <a:extLst>
                    <a:ext uri="{9D8B030D-6E8A-4147-A177-3AD203B41FA5}">
                      <a16:colId xmlns:a16="http://schemas.microsoft.com/office/drawing/2014/main" val="3746407790"/>
                    </a:ext>
                  </a:extLst>
                </a:gridCol>
                <a:gridCol w="1939975">
                  <a:extLst>
                    <a:ext uri="{9D8B030D-6E8A-4147-A177-3AD203B41FA5}">
                      <a16:colId xmlns:a16="http://schemas.microsoft.com/office/drawing/2014/main" val="1637959196"/>
                    </a:ext>
                  </a:extLst>
                </a:gridCol>
                <a:gridCol w="1638026">
                  <a:extLst>
                    <a:ext uri="{9D8B030D-6E8A-4147-A177-3AD203B41FA5}">
                      <a16:colId xmlns:a16="http://schemas.microsoft.com/office/drawing/2014/main" val="1787929972"/>
                    </a:ext>
                  </a:extLst>
                </a:gridCol>
                <a:gridCol w="1449927">
                  <a:extLst>
                    <a:ext uri="{9D8B030D-6E8A-4147-A177-3AD203B41FA5}">
                      <a16:colId xmlns:a16="http://schemas.microsoft.com/office/drawing/2014/main" val="3950719893"/>
                    </a:ext>
                  </a:extLst>
                </a:gridCol>
                <a:gridCol w="1402902">
                  <a:extLst>
                    <a:ext uri="{9D8B030D-6E8A-4147-A177-3AD203B41FA5}">
                      <a16:colId xmlns:a16="http://schemas.microsoft.com/office/drawing/2014/main" val="1418152834"/>
                    </a:ext>
                  </a:extLst>
                </a:gridCol>
              </a:tblGrid>
              <a:tr h="569005"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Descri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o of Users</a:t>
                      </a:r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Cost Per Month Per User (US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Annual Cost per user (US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Total Annual Cost (US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400" dirty="0"/>
                        <a:t>Total Annual Cost (MY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541148"/>
                  </a:ext>
                </a:extLst>
              </a:tr>
              <a:tr h="413399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RSC Users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50</a:t>
                      </a:r>
                      <a:endParaRPr lang="en-MY" sz="140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l"/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5905833"/>
                  </a:ext>
                </a:extLst>
              </a:tr>
              <a:tr h="318977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Store Users</a:t>
                      </a:r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71</a:t>
                      </a:r>
                      <a:endParaRPr lang="en-MY" sz="140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l"/>
                      <a:endParaRPr lang="en-MY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1835857"/>
                  </a:ext>
                </a:extLst>
              </a:tr>
              <a:tr h="569005">
                <a:tc>
                  <a:txBody>
                    <a:bodyPr/>
                    <a:lstStyle/>
                    <a:p>
                      <a:pPr algn="l"/>
                      <a:r>
                        <a:rPr lang="en-MY" sz="1400" dirty="0"/>
                        <a:t>O365 Information Worker License (M365 E3): RS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36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432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194,40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933,120.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8043592"/>
                  </a:ext>
                </a:extLst>
              </a:tr>
              <a:tr h="803301">
                <a:tc>
                  <a:txBody>
                    <a:bodyPr/>
                    <a:lstStyle/>
                    <a:p>
                      <a:pPr algn="l"/>
                      <a:r>
                        <a:rPr lang="en-MY" sz="1400" dirty="0"/>
                        <a:t>O365 Custom Deskless Worker License (O365 E1): St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4.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56.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20,924.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100,437.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6398397"/>
                  </a:ext>
                </a:extLst>
              </a:tr>
              <a:tr h="569005">
                <a:tc>
                  <a:txBody>
                    <a:bodyPr/>
                    <a:lstStyle/>
                    <a:p>
                      <a:pPr algn="l"/>
                      <a:r>
                        <a:rPr lang="en-MY" sz="1400" dirty="0"/>
                        <a:t>MDM (Active Sync): RSC Us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MY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5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6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27,00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MY" sz="1400" dirty="0"/>
                        <a:t>129,600.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1560705"/>
                  </a:ext>
                </a:extLst>
              </a:tr>
              <a:tr h="504177">
                <a:tc gridSpan="4">
                  <a:txBody>
                    <a:bodyPr/>
                    <a:lstStyle/>
                    <a:p>
                      <a:pPr algn="l"/>
                      <a:r>
                        <a:rPr lang="en-MY" sz="1400" b="1" i="0" dirty="0"/>
                        <a:t>Tota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MY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400" b="1" i="0" dirty="0"/>
                        <a:t>242,324.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400" b="1" i="0" dirty="0"/>
                        <a:t>1,163,157.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96409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2DD9A8-7C8C-345E-9CB8-E119972D2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Appendix 2</a:t>
            </a:r>
          </a:p>
        </p:txBody>
      </p:sp>
      <p:pic>
        <p:nvPicPr>
          <p:cNvPr id="4098" name="Picture 1">
            <a:extLst>
              <a:ext uri="{FF2B5EF4-FFF2-40B4-BE49-F238E27FC236}">
                <a16:creationId xmlns:a16="http://schemas.microsoft.com/office/drawing/2014/main" id="{62A73B48-629A-63AA-B3E8-3CD500D3D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4667" y="425882"/>
            <a:ext cx="9688034" cy="2917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phic 4" descr="Home outline">
            <a:hlinkClick r:id="rId3" action="ppaction://hlinksldjump"/>
            <a:extLst>
              <a:ext uri="{FF2B5EF4-FFF2-40B4-BE49-F238E27FC236}">
                <a16:creationId xmlns:a16="http://schemas.microsoft.com/office/drawing/2014/main" id="{9D038672-1D47-7294-2FA5-9BFDE57D9C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42543" y="18327"/>
            <a:ext cx="407555" cy="407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4113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F5506-E496-D25E-D8B4-6A03E2FFB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Appendix 3 – Quotation from </a:t>
            </a:r>
            <a:r>
              <a:rPr lang="en-MY" dirty="0" err="1"/>
              <a:t>Alfacom</a:t>
            </a:r>
            <a:endParaRPr lang="en-MY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727CF5A-E6A8-FBBC-99D0-039783A6C0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4464941"/>
              </p:ext>
            </p:extLst>
          </p:nvPr>
        </p:nvGraphicFramePr>
        <p:xfrm>
          <a:off x="1261390" y="1007389"/>
          <a:ext cx="9277457" cy="5349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231">
                  <a:extLst>
                    <a:ext uri="{9D8B030D-6E8A-4147-A177-3AD203B41FA5}">
                      <a16:colId xmlns:a16="http://schemas.microsoft.com/office/drawing/2014/main" val="806769290"/>
                    </a:ext>
                  </a:extLst>
                </a:gridCol>
                <a:gridCol w="5154226">
                  <a:extLst>
                    <a:ext uri="{9D8B030D-6E8A-4147-A177-3AD203B41FA5}">
                      <a16:colId xmlns:a16="http://schemas.microsoft.com/office/drawing/2014/main" val="1951809380"/>
                    </a:ext>
                  </a:extLst>
                </a:gridCol>
              </a:tblGrid>
              <a:tr h="540331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scription</a:t>
                      </a:r>
                      <a:endParaRPr lang="en-MY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Annual Subscription / Per User  (RM)</a:t>
                      </a:r>
                      <a:endParaRPr lang="en-MY" sz="18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4393886"/>
                  </a:ext>
                </a:extLst>
              </a:tr>
              <a:tr h="486768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ffice 365 E3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1,302.30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45574177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Office 365 E5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2,151.63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28302129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Power BI Pro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566.22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00989786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nterprise Mobility + Security E3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600.19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19198267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Enterprise Mobility + Security E5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928.60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43451620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Windows 11 Enterprise E3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396.35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66981336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Windows 11 Enterprise E5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622.84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50288125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Microsoft 365 E3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2,032.35</a:t>
                      </a:r>
                      <a:endParaRPr lang="en-MY" sz="140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86939848"/>
                  </a:ext>
                </a:extLst>
              </a:tr>
              <a:tr h="540331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Microsoft 365 E5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3,217.88</a:t>
                      </a:r>
                      <a:endParaRPr lang="en-MY" sz="1400" dirty="0">
                        <a:effectLst/>
                        <a:latin typeface="+mn-lt"/>
                        <a:ea typeface="Aptos" panose="020B0004020202020204" pitchFamily="34" charset="0"/>
                        <a:cs typeface="Aptos" panose="020B00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80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225706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381EC-2F45-4461-AA9C-2AB9ADB57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00" y="0"/>
            <a:ext cx="11522075" cy="731520"/>
          </a:xfrm>
        </p:spPr>
        <p:txBody>
          <a:bodyPr/>
          <a:lstStyle/>
          <a:p>
            <a:r>
              <a:rPr lang="en-US" dirty="0"/>
              <a:t>Appendix 1 - Function Comparison</a:t>
            </a:r>
            <a:endParaRPr lang="en-GB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8607BC3-F8FA-4D3D-9688-F98CAD0AD66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35360" y="731520"/>
          <a:ext cx="11522076" cy="5649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6624">
                  <a:extLst>
                    <a:ext uri="{9D8B030D-6E8A-4147-A177-3AD203B41FA5}">
                      <a16:colId xmlns:a16="http://schemas.microsoft.com/office/drawing/2014/main" val="3371106334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val="3058743790"/>
                    </a:ext>
                  </a:extLst>
                </a:gridCol>
                <a:gridCol w="2737100">
                  <a:extLst>
                    <a:ext uri="{9D8B030D-6E8A-4147-A177-3AD203B41FA5}">
                      <a16:colId xmlns:a16="http://schemas.microsoft.com/office/drawing/2014/main" val="9534121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ption 1 – Corp Ten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ption 2 – Own Ten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272728"/>
                  </a:ext>
                </a:extLst>
              </a:tr>
              <a:tr h="814472">
                <a:tc>
                  <a:txBody>
                    <a:bodyPr/>
                    <a:lstStyle/>
                    <a:p>
                      <a:r>
                        <a:rPr lang="en-US" b="1" dirty="0"/>
                        <a:t>Microsoft Office App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171294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r>
                        <a:rPr lang="en-US" b="1" dirty="0"/>
                        <a:t>Email &amp; Calendar</a:t>
                      </a:r>
                    </a:p>
                    <a:p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92108"/>
                  </a:ext>
                </a:extLst>
              </a:tr>
              <a:tr h="763368"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etings and voice</a:t>
                      </a:r>
                    </a:p>
                    <a:p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limited features without record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1949774"/>
                  </a:ext>
                </a:extLst>
              </a:tr>
              <a:tr h="820808">
                <a:tc>
                  <a:txBody>
                    <a:bodyPr/>
                    <a:lstStyle/>
                    <a:p>
                      <a:r>
                        <a:rPr lang="en-US" b="1" dirty="0"/>
                        <a:t>Social and Intra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ad Only Access, not able to create own </a:t>
                      </a:r>
                      <a:r>
                        <a:rPr lang="en-US" dirty="0" err="1"/>
                        <a:t>Sharepoint</a:t>
                      </a:r>
                      <a:r>
                        <a:rPr lang="en-US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4005753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r>
                        <a:rPr lang="en-US" b="1" dirty="0"/>
                        <a:t>One Drive / Fo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670973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r>
                        <a:rPr lang="en-US" b="1" dirty="0"/>
                        <a:t>Advanced 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9445926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r>
                        <a:rPr lang="en-US" b="1" dirty="0"/>
                        <a:t>Identify, Access Management and Security &amp; Information Prot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Partial  Fea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, Full Feat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2538766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4179712B-7F64-4F02-AD63-5034D757FE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3031" y="1173106"/>
            <a:ext cx="2779023" cy="6480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C0B988D-20AA-4B05-8F09-B047AFEE53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624" y="1941771"/>
            <a:ext cx="2064130" cy="63511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5F5010F-87D6-4657-8F1E-F5C520AA1B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6008" y="2673291"/>
            <a:ext cx="574046" cy="63511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93019B5-8584-4ECE-B5BD-7C41D4EDE0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1624" y="3429000"/>
            <a:ext cx="1872208" cy="684953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624ED620-68A8-4A93-9B78-F127B796D00A}"/>
              </a:ext>
            </a:extLst>
          </p:cNvPr>
          <p:cNvGrpSpPr/>
          <p:nvPr/>
        </p:nvGrpSpPr>
        <p:grpSpPr>
          <a:xfrm>
            <a:off x="2711624" y="4274715"/>
            <a:ext cx="1224136" cy="570758"/>
            <a:chOff x="5899140" y="3250321"/>
            <a:chExt cx="692185" cy="343787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73D45566-8BC1-45BB-AA8E-3022398EB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99140" y="3263891"/>
              <a:ext cx="393720" cy="330217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590C067B-A6A4-4256-8124-61E6E7102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92860" y="3250321"/>
              <a:ext cx="298465" cy="336567"/>
            </a:xfrm>
            <a:prstGeom prst="rect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F0E73337-7412-4BB5-95D4-FA9FA270F6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95582" y="5009558"/>
            <a:ext cx="1240178" cy="61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10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Background and Objective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86084702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75AF80B3-393A-48F5-9D69-402321F21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and Objectiv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60EF82-B59A-C06D-9C6E-26FC90AC733D}"/>
              </a:ext>
            </a:extLst>
          </p:cNvPr>
          <p:cNvSpPr/>
          <p:nvPr/>
        </p:nvSpPr>
        <p:spPr>
          <a:xfrm>
            <a:off x="337930" y="1715531"/>
            <a:ext cx="5681870" cy="49138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13F42">
                    <a:lumMod val="50000"/>
                  </a:srgbClr>
                </a:solidFill>
                <a:latin typeface="Arial" panose="020B0604020202020204"/>
              </a:rPr>
              <a:t>McD Malaysia is paying around RM1.1 million to Microsoft via Global IT billing as part of Global Technology Enterprise Services (GTES) with the minimum usage of the Microsoft product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rgbClr val="413F42">
                  <a:lumMod val="50000"/>
                </a:srgbClr>
              </a:solidFill>
              <a:latin typeface="Arial" panose="020B0604020202020204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13F42">
                    <a:lumMod val="50000"/>
                  </a:srgbClr>
                </a:solidFill>
                <a:latin typeface="Arial" panose="020B0604020202020204"/>
              </a:rPr>
              <a:t>Limitation of the system's capability due to restriction from the Global (direct licensee) regarding security and accessibility. </a:t>
            </a:r>
          </a:p>
          <a:p>
            <a:pPr marR="0" lvl="0" indent="263525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i="1" dirty="0">
                <a:solidFill>
                  <a:srgbClr val="413F42">
                    <a:lumMod val="50000"/>
                  </a:srgbClr>
                </a:solidFill>
                <a:latin typeface="Arial" panose="020B0604020202020204"/>
              </a:rPr>
              <a:t>(We pay Ferrari but functionality like </a:t>
            </a:r>
            <a:r>
              <a:rPr lang="en-US" sz="1400" i="1" dirty="0" err="1">
                <a:solidFill>
                  <a:srgbClr val="413F42">
                    <a:lumMod val="50000"/>
                  </a:srgbClr>
                </a:solidFill>
                <a:latin typeface="Arial" panose="020B0604020202020204"/>
              </a:rPr>
              <a:t>Kancil</a:t>
            </a:r>
            <a:r>
              <a:rPr lang="en-US" sz="1400" i="1" dirty="0">
                <a:solidFill>
                  <a:srgbClr val="413F42">
                    <a:lumMod val="50000"/>
                  </a:srgbClr>
                </a:solidFill>
                <a:latin typeface="Arial" panose="020B0604020202020204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lang="en-US" sz="1400" dirty="0">
              <a:solidFill>
                <a:srgbClr val="413F42">
                  <a:lumMod val="50000"/>
                </a:srgbClr>
              </a:solidFill>
              <a:latin typeface="Arial" panose="020B0604020202020204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13F42">
                    <a:lumMod val="50000"/>
                  </a:srgbClr>
                </a:solidFill>
                <a:latin typeface="Arial" panose="020B0604020202020204"/>
              </a:rPr>
              <a:t>The Digital &amp; IT division proposed to migrate Microsoft365 to its own tenant thus McD Malaysia will have full ownership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13F42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13F42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just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13F42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D7D14D0-6B01-60CC-B181-51C35543D87D}"/>
              </a:ext>
            </a:extLst>
          </p:cNvPr>
          <p:cNvSpPr/>
          <p:nvPr/>
        </p:nvSpPr>
        <p:spPr>
          <a:xfrm>
            <a:off x="6172200" y="1715530"/>
            <a:ext cx="5681870" cy="49138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Increase business efficiency as it can leverage full suite of Microsoft365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Fully utilise the Microsoft product (Power BI, Power Apps, Power Automate, etc.)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Access to One Drive/Form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Access to SharePoint capabilities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Ability to adapt quickly to dynamic needs of business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Self-managed and have ownership of the system for accessibility and Cybersecurity (advance security protection and data leak prevention)</a:t>
            </a:r>
          </a:p>
          <a:p>
            <a:pPr defTabSz="914400"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Functionalities of Microsoft Teams and SharePoint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  <a:highlight>
                  <a:srgbClr val="FFFF00"/>
                </a:highlight>
              </a:rPr>
              <a:t>Disaster Recovery (follow up w Wil Son)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  <a:defRPr/>
            </a:pPr>
            <a:r>
              <a:rPr lang="en-MY" sz="1400" dirty="0">
                <a:solidFill>
                  <a:schemeClr val="tx1">
                    <a:lumMod val="50000"/>
                  </a:schemeClr>
                </a:solidFill>
              </a:rPr>
              <a:t>Cost benefit to the company as it will be managed internally</a:t>
            </a:r>
          </a:p>
          <a:p>
            <a:pPr defTabSz="914400">
              <a:defRPr/>
            </a:pPr>
            <a:endParaRPr lang="en-MY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41F207-EADA-E6DF-9D8B-948057F70FD4}"/>
              </a:ext>
            </a:extLst>
          </p:cNvPr>
          <p:cNvSpPr txBox="1"/>
          <p:nvPr/>
        </p:nvSpPr>
        <p:spPr>
          <a:xfrm>
            <a:off x="334963" y="1314181"/>
            <a:ext cx="2392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67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GROUND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004674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1BA5A-6CBD-1634-61F6-B0F7CC0A18CD}"/>
              </a:ext>
            </a:extLst>
          </p:cNvPr>
          <p:cNvSpPr txBox="1"/>
          <p:nvPr/>
        </p:nvSpPr>
        <p:spPr>
          <a:xfrm>
            <a:off x="6172200" y="1314181"/>
            <a:ext cx="43732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674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JECTIVE</a:t>
            </a:r>
            <a:endParaRPr kumimoji="0" lang="en-MY" sz="1400" b="1" i="0" u="none" strike="noStrike" kern="1200" cap="none" spc="0" normalizeH="0" baseline="0" noProof="0" dirty="0">
              <a:ln>
                <a:noFill/>
              </a:ln>
              <a:solidFill>
                <a:srgbClr val="004674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76C85663-DA4D-6D16-AC60-74AA9F73D7E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11736399"/>
                  </p:ext>
                </p:extLst>
              </p:nvPr>
            </p:nvGraphicFramePr>
            <p:xfrm>
              <a:off x="334963" y="6354283"/>
              <a:ext cx="489097" cy="275116"/>
            </p:xfrm>
            <a:graphic>
              <a:graphicData uri="http://schemas.microsoft.com/office/powerpoint/2016/slidezoom">
                <pslz:sldZm>
                  <pslz:sldZmObj sldId="545" cId="3209411347">
                    <pslz:zmPr id="{4602BB8A-7126-436C-908E-436FF877B714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89097" cy="27511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Slide Zoom 7">
                <a:extLst>
                  <a:ext uri="{FF2B5EF4-FFF2-40B4-BE49-F238E27FC236}">
                    <a16:creationId xmlns:a16="http://schemas.microsoft.com/office/drawing/2014/main" id="{76C85663-DA4D-6D16-AC60-74AA9F73D7E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34963" y="6354283"/>
                <a:ext cx="489097" cy="27511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3147569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Current Limitation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60401214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75AF80B3-393A-48F5-9D69-402321F21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Limitation But Not Limited To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9CD53E11-7CC6-40CC-B5E0-5B2ADE6094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260435"/>
              </p:ext>
            </p:extLst>
          </p:nvPr>
        </p:nvGraphicFramePr>
        <p:xfrm>
          <a:off x="335279" y="1314079"/>
          <a:ext cx="11147883" cy="51824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10847">
                  <a:extLst>
                    <a:ext uri="{9D8B030D-6E8A-4147-A177-3AD203B41FA5}">
                      <a16:colId xmlns:a16="http://schemas.microsoft.com/office/drawing/2014/main" val="514039819"/>
                    </a:ext>
                  </a:extLst>
                </a:gridCol>
                <a:gridCol w="5837036">
                  <a:extLst>
                    <a:ext uri="{9D8B030D-6E8A-4147-A177-3AD203B41FA5}">
                      <a16:colId xmlns:a16="http://schemas.microsoft.com/office/drawing/2014/main" val="959405633"/>
                    </a:ext>
                  </a:extLst>
                </a:gridCol>
              </a:tblGrid>
              <a:tr h="2943511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200"/>
                        </a:spcBef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Use my.mcd.com</a:t>
                      </a:r>
                    </a:p>
                    <a:p>
                      <a:pPr algn="ctr">
                        <a:lnSpc>
                          <a:spcPct val="90000"/>
                        </a:lnSpc>
                        <a:spcBef>
                          <a:spcPts val="1800"/>
                        </a:spcBef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228600" marR="228600" marT="91440" marB="91440" anchor="b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200"/>
                        </a:spcBef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icrosoft’s custom tena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800" u="sng" kern="100" dirty="0">
                          <a:solidFill>
                            <a:srgbClr val="467886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  <a:hlinkClick r:id="rId4"/>
                        </a:rPr>
                        <a:t>http://garsbmy.onmicrosoft.com/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28600" marR="228600" marT="91440" marB="9144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4881929"/>
                  </a:ext>
                </a:extLst>
              </a:tr>
              <a:tr h="2238902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1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o not have access to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Power BI Pro License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1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o not have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M365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based teams SharePoint access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1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o not have access to other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new M365 capabilities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uch as M365 CoPilot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etc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28600" marR="228600" marT="91440" marB="91440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1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Limited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Power BI Pro Licenses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1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Users have to 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</a:rPr>
                        <a:t>switch accounts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and might forget or wrongly key in the password.</a:t>
                      </a:r>
                    </a:p>
                  </a:txBody>
                  <a:tcPr marL="228600" marR="228600" marT="91440" marB="9144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24622"/>
                  </a:ext>
                </a:extLst>
              </a:tr>
            </a:tbl>
          </a:graphicData>
        </a:graphic>
      </p:graphicFrame>
      <p:pic>
        <p:nvPicPr>
          <p:cNvPr id="1026" name="Picture 2" descr="Power BI Logo, symbol, meaning, history, PNG, brand">
            <a:extLst>
              <a:ext uri="{FF2B5EF4-FFF2-40B4-BE49-F238E27FC236}">
                <a16:creationId xmlns:a16="http://schemas.microsoft.com/office/drawing/2014/main" id="{635756EB-5739-BA87-7BC8-657D346637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405" y="1620343"/>
            <a:ext cx="2729022" cy="1535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crosoft office 365 outlook logo - Social media &amp; Logos Icons">
            <a:extLst>
              <a:ext uri="{FF2B5EF4-FFF2-40B4-BE49-F238E27FC236}">
                <a16:creationId xmlns:a16="http://schemas.microsoft.com/office/drawing/2014/main" id="{6B9EFB92-BDCD-D6A1-5BE1-9C4F9EF68A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977" y="1686353"/>
            <a:ext cx="1322661" cy="1322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Slide Zoom 2">
                <a:extLst>
                  <a:ext uri="{FF2B5EF4-FFF2-40B4-BE49-F238E27FC236}">
                    <a16:creationId xmlns:a16="http://schemas.microsoft.com/office/drawing/2014/main" id="{9B2EE8D9-074D-3741-6BF0-FB748F12485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11888873"/>
                  </p:ext>
                </p:extLst>
              </p:nvPr>
            </p:nvGraphicFramePr>
            <p:xfrm>
              <a:off x="11609071" y="5921999"/>
              <a:ext cx="495300" cy="450668"/>
            </p:xfrm>
            <a:graphic>
              <a:graphicData uri="http://schemas.microsoft.com/office/powerpoint/2016/slidezoom">
                <pslz:sldZm>
                  <pslz:sldZmObj sldId="537" cId="2790691263">
                    <pslz:zmPr id="{9320D7CB-C58A-4192-BC5A-533CF223BF4A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95300" cy="45066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Slide Zoom 2">
                <a:extLst>
                  <a:ext uri="{FF2B5EF4-FFF2-40B4-BE49-F238E27FC236}">
                    <a16:creationId xmlns:a16="http://schemas.microsoft.com/office/drawing/2014/main" id="{9B2EE8D9-074D-3741-6BF0-FB748F12485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609071" y="5921999"/>
                <a:ext cx="495300" cy="45066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3474693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Other market’s Offboarding Experience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48213770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75C910C-133C-4AC0-A9AC-C3DCCB334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arket </a:t>
            </a:r>
          </a:p>
        </p:txBody>
      </p:sp>
      <p:graphicFrame>
        <p:nvGraphicFramePr>
          <p:cNvPr id="5" name="Table">
            <a:extLst>
              <a:ext uri="{FF2B5EF4-FFF2-40B4-BE49-F238E27FC236}">
                <a16:creationId xmlns:a16="http://schemas.microsoft.com/office/drawing/2014/main" id="{72DD8E04-07B5-4B24-A321-835775946A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372438"/>
              </p:ext>
            </p:extLst>
          </p:nvPr>
        </p:nvGraphicFramePr>
        <p:xfrm>
          <a:off x="512261" y="1066703"/>
          <a:ext cx="11131099" cy="5193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5099">
                  <a:extLst>
                    <a:ext uri="{9D8B030D-6E8A-4147-A177-3AD203B41FA5}">
                      <a16:colId xmlns:a16="http://schemas.microsoft.com/office/drawing/2014/main" val="4027735432"/>
                    </a:ext>
                  </a:extLst>
                </a:gridCol>
                <a:gridCol w="4968240">
                  <a:extLst>
                    <a:ext uri="{9D8B030D-6E8A-4147-A177-3AD203B41FA5}">
                      <a16:colId xmlns:a16="http://schemas.microsoft.com/office/drawing/2014/main" val="3105209167"/>
                    </a:ext>
                  </a:extLst>
                </a:gridCol>
                <a:gridCol w="4937760">
                  <a:extLst>
                    <a:ext uri="{9D8B030D-6E8A-4147-A177-3AD203B41FA5}">
                      <a16:colId xmlns:a16="http://schemas.microsoft.com/office/drawing/2014/main" val="1136952292"/>
                    </a:ext>
                  </a:extLst>
                </a:gridCol>
              </a:tblGrid>
              <a:tr h="78336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Catego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Indonesia</a:t>
                      </a:r>
                    </a:p>
                  </a:txBody>
                  <a:tcPr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Hong Ko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315253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Background</a:t>
                      </a:r>
                    </a:p>
                  </a:txBody>
                  <a:tcPr marB="36576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Fully owned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naged tenancy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nk back to Global via GAMS in 2017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restaurants: </a:t>
                      </a: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0 restaurants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users for Operations: </a:t>
                      </a: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0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users for HQ: </a:t>
                      </a: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personnel supporting tenant management (Operations and Admin): </a:t>
                      </a: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Journey </a:t>
                      </a:r>
                      <a:r>
                        <a:rPr lang="en-US" sz="1300" b="1" dirty="0">
                          <a:solidFill>
                            <a:srgbClr val="00B050"/>
                          </a:solidFill>
                        </a:rPr>
                        <a:t>started in 2017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Took 4 months to fully migrated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Number of restaurants: 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255 restaurants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Number of users for Operations: 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500+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Number of users for HQ: 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500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Number of personnel supporting tenant management: 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1 Manager and 2 Helpdesk engineer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955906"/>
                  </a:ext>
                </a:extLst>
              </a:tr>
              <a:tr h="1094583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Partner</a:t>
                      </a:r>
                    </a:p>
                  </a:txBody>
                  <a:tcPr marB="36576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ed together with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icrosoft partner in Indonesia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license.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the first 3 months they engaged vendor to manage their tenancy, and once GAM was implemented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take over all the management and security roles.</a:t>
                      </a:r>
                    </a:p>
                  </a:txBody>
                  <a:tcPr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ed together with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cal Microsoft (HK)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consultancy on the migration.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 with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PAN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 the migration.</a:t>
                      </a:r>
                    </a:p>
                  </a:txBody>
                  <a:tcPr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929938"/>
                  </a:ext>
                </a:extLst>
              </a:tr>
              <a:tr h="9696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Experience</a:t>
                      </a:r>
                    </a:p>
                  </a:txBody>
                  <a:tcPr marB="36576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ice given:</a:t>
                      </a:r>
                    </a:p>
                    <a:p>
                      <a:pPr marL="342900" indent="-161925" algn="l" defTabSz="914400" rtl="0" eaLnBrk="1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+mj-lt"/>
                        <a:buAutoNum type="arabicPeriod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ppoint the Project Manager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the migration and work with global McD to avoid misconfiguration or miscommunication.</a:t>
                      </a:r>
                    </a:p>
                    <a:p>
                      <a:pPr marL="342900" indent="-161925" algn="l" defTabSz="914400" rtl="0" eaLnBrk="1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buClr>
                          <a:schemeClr val="accent2"/>
                        </a:buClr>
                        <a:buFont typeface="+mj-lt"/>
                        <a:buAutoNum type="arabicPeriod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nsure the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escalation point from GTES/GTIO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migration-related support.</a:t>
                      </a:r>
                    </a:p>
                  </a:txBody>
                  <a:tcPr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119370"/>
                  </a:ext>
                </a:extLst>
              </a:tr>
            </a:tbl>
          </a:graphicData>
        </a:graphic>
      </p:graphicFrame>
      <p:sp>
        <p:nvSpPr>
          <p:cNvPr id="19" name="Oval 18">
            <a:extLst>
              <a:ext uri="{FF2B5EF4-FFF2-40B4-BE49-F238E27FC236}">
                <a16:creationId xmlns:a16="http://schemas.microsoft.com/office/drawing/2014/main" id="{274F8C00-EB7E-BE40-637E-2093D1745EEF}"/>
              </a:ext>
            </a:extLst>
          </p:cNvPr>
          <p:cNvSpPr/>
          <p:nvPr/>
        </p:nvSpPr>
        <p:spPr>
          <a:xfrm>
            <a:off x="4827418" y="1128336"/>
            <a:ext cx="650239" cy="652457"/>
          </a:xfrm>
          <a:prstGeom prst="ellipse">
            <a:avLst/>
          </a:prstGeom>
          <a:blipFill>
            <a:blip r:embed="rId4"/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MY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76110A6-1626-26C4-5155-A0AEC5280A38}"/>
              </a:ext>
            </a:extLst>
          </p:cNvPr>
          <p:cNvSpPr/>
          <p:nvPr/>
        </p:nvSpPr>
        <p:spPr>
          <a:xfrm>
            <a:off x="9772494" y="1131901"/>
            <a:ext cx="650239" cy="640081"/>
          </a:xfrm>
          <a:prstGeom prst="ellipse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MY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97977B-6C08-6CE8-9572-F14E75E8B531}"/>
              </a:ext>
            </a:extLst>
          </p:cNvPr>
          <p:cNvSpPr/>
          <p:nvPr/>
        </p:nvSpPr>
        <p:spPr>
          <a:xfrm>
            <a:off x="12684609" y="415788"/>
            <a:ext cx="1505029" cy="1505029"/>
          </a:xfrm>
          <a:prstGeom prst="ellipse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MY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84171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">
            <a:extLst>
              <a:ext uri="{FF2B5EF4-FFF2-40B4-BE49-F238E27FC236}">
                <a16:creationId xmlns:a16="http://schemas.microsoft.com/office/drawing/2014/main" id="{72DD8E04-07B5-4B24-A321-835775946A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633237"/>
              </p:ext>
            </p:extLst>
          </p:nvPr>
        </p:nvGraphicFramePr>
        <p:xfrm>
          <a:off x="512261" y="1066703"/>
          <a:ext cx="11131099" cy="4214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5099">
                  <a:extLst>
                    <a:ext uri="{9D8B030D-6E8A-4147-A177-3AD203B41FA5}">
                      <a16:colId xmlns:a16="http://schemas.microsoft.com/office/drawing/2014/main" val="4027735432"/>
                    </a:ext>
                  </a:extLst>
                </a:gridCol>
                <a:gridCol w="4968240">
                  <a:extLst>
                    <a:ext uri="{9D8B030D-6E8A-4147-A177-3AD203B41FA5}">
                      <a16:colId xmlns:a16="http://schemas.microsoft.com/office/drawing/2014/main" val="3105209167"/>
                    </a:ext>
                  </a:extLst>
                </a:gridCol>
                <a:gridCol w="4937760">
                  <a:extLst>
                    <a:ext uri="{9D8B030D-6E8A-4147-A177-3AD203B41FA5}">
                      <a16:colId xmlns:a16="http://schemas.microsoft.com/office/drawing/2014/main" val="1136952292"/>
                    </a:ext>
                  </a:extLst>
                </a:gridCol>
              </a:tblGrid>
              <a:tr h="75733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Categor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Indonesia</a:t>
                      </a:r>
                    </a:p>
                  </a:txBody>
                  <a:tcPr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Hong Ko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465389"/>
                  </a:ext>
                </a:extLst>
              </a:tr>
              <a:tr h="75733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Bef>
                          <a:spcPts val="1200"/>
                        </a:spcBef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Security</a:t>
                      </a:r>
                    </a:p>
                  </a:txBody>
                  <a:tcPr marB="6400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 not use Proofpoint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email protection but use Microsoft 365’s built-in protection.</a:t>
                      </a:r>
                    </a:p>
                  </a:txBody>
                  <a:tcPr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 not use Proofpoint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email protection.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Outsourced </a:t>
                      </a:r>
                      <a:r>
                        <a:rPr lang="en-US" sz="1300" b="1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yberSecurity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local vendors due to governmental local regulation for Tier 2 support.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90000"/>
                        </a:lnSpc>
                        <a:spcBef>
                          <a:spcPts val="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Local</a:t>
                      </a: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ndor handles the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Security Operations Center (SOC)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90000"/>
                        </a:lnSpc>
                        <a:spcBef>
                          <a:spcPts val="8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ndor SOC Scope:</a:t>
                      </a:r>
                    </a:p>
                    <a:p>
                      <a:pPr marL="361950" indent="-180975" algn="l" defTabSz="9144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buClr>
                          <a:schemeClr val="accent2"/>
                        </a:buClr>
                        <a:buFont typeface="+mj-lt"/>
                        <a:buAutoNum type="arabicPeriod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active monitoring of </a:t>
                      </a:r>
                      <a:r>
                        <a:rPr lang="en-US" sz="13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berSecurity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cidents</a:t>
                      </a:r>
                    </a:p>
                    <a:p>
                      <a:pPr marL="342900" indent="-160338" algn="l" defTabSz="9144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buClr>
                          <a:schemeClr val="accent2"/>
                        </a:buClr>
                        <a:buFont typeface="+mj-lt"/>
                        <a:buAutoNum type="arabicPeriod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 </a:t>
                      </a:r>
                      <a:r>
                        <a:rPr lang="en-US" sz="13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rkTrace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olution to monitor network traffic (Subscribed as a separate license)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3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 TSC Scope:</a:t>
                      </a:r>
                    </a:p>
                    <a:p>
                      <a:pPr marL="342900" indent="-161925" algn="l" defTabSz="9144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buClr>
                          <a:schemeClr val="accent2"/>
                        </a:buClr>
                        <a:buFont typeface="+mj-lt"/>
                        <a:buAutoNum type="arabicPeriod"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tching and OS hardening by the internal Tier 1 team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scribed to </a:t>
                      </a:r>
                      <a:r>
                        <a:rPr lang="en-US" sz="13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MS Defender Advanced Threat Protection (Defender ATP)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which is subscribed separately from Microsoft365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130530"/>
                  </a:ext>
                </a:extLst>
              </a:tr>
            </a:tbl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5C910C-133C-4AC0-A9AC-C3DCCB334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arke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74F8C00-EB7E-BE40-637E-2093D1745EEF}"/>
              </a:ext>
            </a:extLst>
          </p:cNvPr>
          <p:cNvSpPr/>
          <p:nvPr/>
        </p:nvSpPr>
        <p:spPr>
          <a:xfrm>
            <a:off x="4806156" y="1117487"/>
            <a:ext cx="650239" cy="652457"/>
          </a:xfrm>
          <a:prstGeom prst="ellipse">
            <a:avLst/>
          </a:prstGeom>
          <a:blipFill>
            <a:blip r:embed="rId4"/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76110A6-1626-26C4-5155-A0AEC5280A38}"/>
              </a:ext>
            </a:extLst>
          </p:cNvPr>
          <p:cNvSpPr/>
          <p:nvPr/>
        </p:nvSpPr>
        <p:spPr>
          <a:xfrm>
            <a:off x="9775098" y="1138753"/>
            <a:ext cx="650239" cy="640081"/>
          </a:xfrm>
          <a:prstGeom prst="ellipse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997977B-6C08-6CE8-9572-F14E75E8B531}"/>
              </a:ext>
            </a:extLst>
          </p:cNvPr>
          <p:cNvSpPr/>
          <p:nvPr/>
        </p:nvSpPr>
        <p:spPr>
          <a:xfrm>
            <a:off x="12684609" y="415788"/>
            <a:ext cx="1505029" cy="1505029"/>
          </a:xfrm>
          <a:prstGeom prst="ellipse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893843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6uq7NptkaP8Cfba9p3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cD 2.0">
  <a:themeElements>
    <a:clrScheme name="Custom 10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B0007"/>
      </a:hlink>
      <a:folHlink>
        <a:srgbClr val="8A8A8D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25400">
          <a:solidFill>
            <a:schemeClr val="accent1"/>
          </a:solidFill>
        </a:ln>
      </a:spPr>
      <a:bodyPr wrap="square" tIns="91440" bIns="91440" rtlCol="0" anchor="ctr">
        <a:noAutofit/>
      </a:bodyPr>
      <a:lstStyle>
        <a:defPPr algn="l">
          <a:lnSpc>
            <a:spcPct val="90000"/>
          </a:lnSpc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25400">
          <a:noFill/>
        </a:ln>
      </a:spPr>
      <a:bodyPr wrap="none" tIns="91440" bIns="91440" rtlCol="0">
        <a:spAutoFit/>
      </a:bodyPr>
      <a:lstStyle>
        <a:defPPr algn="l">
          <a:lnSpc>
            <a:spcPct val="90000"/>
          </a:lnSpc>
          <a:spcBef>
            <a:spcPts val="6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cD">
  <a:themeElements>
    <a:clrScheme name="McD Vis ID">
      <a:dk1>
        <a:srgbClr val="000000"/>
      </a:dk1>
      <a:lt1>
        <a:srgbClr val="FFFFFF"/>
      </a:lt1>
      <a:dk2>
        <a:srgbClr val="5F5F5F"/>
      </a:dk2>
      <a:lt2>
        <a:srgbClr val="E6E6E6"/>
      </a:lt2>
      <a:accent1>
        <a:srgbClr val="FFB71B"/>
      </a:accent1>
      <a:accent2>
        <a:srgbClr val="C8161D"/>
      </a:accent2>
      <a:accent3>
        <a:srgbClr val="555555"/>
      </a:accent3>
      <a:accent4>
        <a:srgbClr val="878787"/>
      </a:accent4>
      <a:accent5>
        <a:srgbClr val="BEBEBE"/>
      </a:accent5>
      <a:accent6>
        <a:srgbClr val="DCDCDC"/>
      </a:accent6>
      <a:hlink>
        <a:srgbClr val="FFB71B"/>
      </a:hlink>
      <a:folHlink>
        <a:srgbClr val="C8161D"/>
      </a:folHlink>
    </a:clrScheme>
    <a:fontScheme name="McD Vis ID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bg1"/>
          </a:solidFill>
        </a:ln>
      </a:spPr>
      <a:bodyPr wrap="none" lIns="182880" tIns="91440" rIns="182880" bIns="91440" rtlCol="0" anchor="ctr">
        <a:spAutoFit/>
      </a:bodyPr>
      <a:lstStyle>
        <a:defPPr algn="ctr">
          <a:lnSpc>
            <a:spcPct val="90000"/>
          </a:lnSpc>
          <a:spcBef>
            <a:spcPts val="1200"/>
          </a:spcBef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9</TotalTime>
  <Words>2683</Words>
  <Application>Microsoft Office PowerPoint</Application>
  <PresentationFormat>Widescreen</PresentationFormat>
  <Paragraphs>783</Paragraphs>
  <Slides>29</Slides>
  <Notes>18</Notes>
  <HiddenSlides>2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ptos</vt:lpstr>
      <vt:lpstr>Arial</vt:lpstr>
      <vt:lpstr>Arial Narrow</vt:lpstr>
      <vt:lpstr>Calibri</vt:lpstr>
      <vt:lpstr>Century Gothic</vt:lpstr>
      <vt:lpstr>Graphik</vt:lpstr>
      <vt:lpstr>Museo Sans 300</vt:lpstr>
      <vt:lpstr>Speedee</vt:lpstr>
      <vt:lpstr>Symbol</vt:lpstr>
      <vt:lpstr>Wingdings</vt:lpstr>
      <vt:lpstr>McD 2.0</vt:lpstr>
      <vt:lpstr>1_McD</vt:lpstr>
      <vt:lpstr>Migration of Microsoft365 to Own Tenant</vt:lpstr>
      <vt:lpstr>AGENDA</vt:lpstr>
      <vt:lpstr>Background and Objective</vt:lpstr>
      <vt:lpstr>Background and Objective</vt:lpstr>
      <vt:lpstr>Current Limitation</vt:lpstr>
      <vt:lpstr>Current Limitation But Not Limited To</vt:lpstr>
      <vt:lpstr>Other market’s Offboarding Experience</vt:lpstr>
      <vt:lpstr>Other Market </vt:lpstr>
      <vt:lpstr>Other Market</vt:lpstr>
      <vt:lpstr>Other Market</vt:lpstr>
      <vt:lpstr>Proposal</vt:lpstr>
      <vt:lpstr>Proposal</vt:lpstr>
      <vt:lpstr>New tenant setup and migration cost</vt:lpstr>
      <vt:lpstr>Migrate and upgrade to Microsoft365 E5 license and Infrastructure &amp; Security Management cost </vt:lpstr>
      <vt:lpstr>PowerPoint Presentation</vt:lpstr>
      <vt:lpstr>Project Charter</vt:lpstr>
      <vt:lpstr>Project Charter</vt:lpstr>
      <vt:lpstr>Project Team</vt:lpstr>
      <vt:lpstr>Project Team: Roles &amp; Responsibilities</vt:lpstr>
      <vt:lpstr>Project Timeline</vt:lpstr>
      <vt:lpstr>Proposed Project Timeline</vt:lpstr>
      <vt:lpstr>Next Steps</vt:lpstr>
      <vt:lpstr>Next Steps</vt:lpstr>
      <vt:lpstr>Questions &amp; Answers (Q&amp;A)</vt:lpstr>
      <vt:lpstr>Thank you</vt:lpstr>
      <vt:lpstr>Functionality Comparison</vt:lpstr>
      <vt:lpstr>Appendix 2</vt:lpstr>
      <vt:lpstr>Appendix 3 – Quotation from Alfacom</vt:lpstr>
      <vt:lpstr>Appendix 1 - Function Comparis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zlan, Azimah</dc:creator>
  <cp:lastModifiedBy>Mazlan, Azimah</cp:lastModifiedBy>
  <cp:revision>3</cp:revision>
  <dcterms:created xsi:type="dcterms:W3CDTF">2024-05-16T13:26:01Z</dcterms:created>
  <dcterms:modified xsi:type="dcterms:W3CDTF">2024-05-23T04:05:16Z</dcterms:modified>
</cp:coreProperties>
</file>